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7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28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05.xml" ContentType="application/vnd.openxmlformats-officedocument.presentationml.tags+xml"/>
  <Override PartName="/ppt/tags/tag200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06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07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08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09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10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11.xml" ContentType="application/vnd.openxmlformats-officedocument.presentationml.tags+xml"/>
  <Override PartName="/ppt/tags/tag199.xml" ContentType="application/vnd.openxmlformats-officedocument.presentationml.tags+xml"/>
  <Override PartName="/ppt/tags/tag198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188.xml" ContentType="application/vnd.openxmlformats-officedocument.presentationml.tags+xml"/>
  <Override PartName="/ppt/tags/tag187.xml" ContentType="application/vnd.openxmlformats-officedocument.presentationml.tags+xml"/>
  <Override PartName="/ppt/tags/tag186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tags/tag212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13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01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02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214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215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216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217.xml" ContentType="application/vnd.openxmlformats-officedocument.presentationml.tags+xml"/>
  <Override PartName="/ppt/tags/tag182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218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219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220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221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203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222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223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22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225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383.xml" ContentType="application/vnd.openxmlformats-officedocument.presentationml.tags+xml"/>
  <Override PartName="/ppt/tags/tag229.xml" ContentType="application/vnd.openxmlformats-officedocument.presentationml.tags+xml"/>
  <Override PartName="/ppt/tags/tag204.xml" ContentType="application/vnd.openxmlformats-officedocument.presentationml.tags+xml"/>
  <Override PartName="/ppt/tags/tag384.xml" ContentType="application/vnd.openxmlformats-officedocument.presentationml.tags+xml"/>
  <Override PartName="/ppt/tags/tag2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81.xml" ContentType="application/vnd.openxmlformats-officedocument.presentationml.tags+xml"/>
  <Override PartName="/ppt/tags/tag147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76.xml" ContentType="application/vnd.openxmlformats-officedocument.presentationml.tags+xml"/>
  <Override PartName="/ppt/tags/tag175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174.xml" ContentType="application/vnd.openxmlformats-officedocument.presentationml.tags+xml"/>
  <Override PartName="/ppt/tags/tag17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63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137.xml" ContentType="application/vnd.openxmlformats-officedocument.presentationml.tags+xml"/>
  <Override PartName="/ppt/tags/tag136.xml" ContentType="application/vnd.openxmlformats-officedocument.presentationml.tags+xml"/>
  <Override PartName="/ppt/tags/tag135.xml" ContentType="application/vnd.openxmlformats-officedocument.presentationml.tags+xml"/>
  <Override PartName="/ppt/tags/tag134.xml" ContentType="application/vnd.openxmlformats-officedocument.presentationml.tags+xml"/>
  <Override PartName="/ppt/tags/tag133.xml" ContentType="application/vnd.openxmlformats-officedocument.presentationml.tags+xml"/>
  <Override PartName="/ppt/tags/tag132.xml" ContentType="application/vnd.openxmlformats-officedocument.presentationml.tags+xml"/>
  <Override PartName="/ppt/tags/tag131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23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119.xml" ContentType="application/vnd.openxmlformats-officedocument.presentationml.tags+xml"/>
  <Override PartName="/ppt/tags/tag118.xml" ContentType="application/vnd.openxmlformats-officedocument.presentationml.tags+xml"/>
  <Override PartName="/ppt/tags/tag117.xml" ContentType="application/vnd.openxmlformats-officedocument.presentationml.tags+xml"/>
  <Override PartName="/ppt/tags/tag116.xml" ContentType="application/vnd.openxmlformats-officedocument.presentationml.tags+xml"/>
  <Override PartName="/ppt/tags/tag115.xml" ContentType="application/vnd.openxmlformats-officedocument.presentationml.tags+xml"/>
  <Override PartName="/ppt/tags/tag114.xml" ContentType="application/vnd.openxmlformats-officedocument.presentationml.tags+xml"/>
  <Override PartName="/ppt/tags/tag113.xml" ContentType="application/vnd.openxmlformats-officedocument.presentationml.tags+xml"/>
  <Override PartName="/ppt/tags/tag112.xml" ContentType="application/vnd.openxmlformats-officedocument.presentationml.tags+xml"/>
  <Override PartName="/ppt/tags/tag111.xml" ContentType="application/vnd.openxmlformats-officedocument.presentationml.tags+xml"/>
  <Override PartName="/ppt/tags/tag110.xml" ContentType="application/vnd.openxmlformats-officedocument.presentationml.tags+xml"/>
  <Override PartName="/ppt/tags/tag109.xml" ContentType="application/vnd.openxmlformats-officedocument.presentationml.tags+xml"/>
  <Override PartName="/ppt/tags/tag108.xml" ContentType="application/vnd.openxmlformats-officedocument.presentationml.tags+xml"/>
  <Override PartName="/ppt/tags/tag107.xml" ContentType="application/vnd.openxmlformats-officedocument.presentationml.tags+xml"/>
  <Override PartName="/ppt/tags/tag106.xml" ContentType="application/vnd.openxmlformats-officedocument.presentationml.tags+xml"/>
  <Override PartName="/ppt/tags/tag105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323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21" r:id="rId1"/>
    <p:sldMasterId id="2147483902" r:id="rId2"/>
    <p:sldMasterId id="2147483920" r:id="rId3"/>
  </p:sldMasterIdLst>
  <p:notesMasterIdLst>
    <p:notesMasterId r:id="rId7"/>
  </p:notesMasterIdLst>
  <p:handoutMasterIdLst>
    <p:handoutMasterId r:id="rId8"/>
  </p:handoutMasterIdLst>
  <p:sldIdLst>
    <p:sldId id="1026" r:id="rId4"/>
    <p:sldId id="1028" r:id="rId5"/>
    <p:sldId id="1027" r:id="rId6"/>
  </p:sldIdLst>
  <p:sldSz cx="12193588" cy="6858000"/>
  <p:notesSz cx="6858000" cy="9144000"/>
  <p:custDataLst>
    <p:tags r:id="rId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620713" indent="-163513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1243013" indent="-328613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865313" indent="-493713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2487613" indent="-658813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025B141-975F-49E8-88D6-9BD901ACA1E9}">
          <p14:sldIdLst>
            <p14:sldId id="1026"/>
            <p14:sldId id="1028"/>
            <p14:sldId id="1027"/>
          </p14:sldIdLst>
        </p14:section>
      </p14:sectionLst>
    </p:ext>
    <p:ext uri="{EFAFB233-063F-42B5-8137-9DF3F51BA10A}">
      <p15:sldGuideLst xmlns:p15="http://schemas.microsoft.com/office/powerpoint/2012/main">
        <p15:guide id="1" pos="3682">
          <p15:clr>
            <a:srgbClr val="A4A3A4"/>
          </p15:clr>
        </p15:guide>
        <p15:guide id="2" orient="horz" pos="3861">
          <p15:clr>
            <a:srgbClr val="A4A3A4"/>
          </p15:clr>
        </p15:guide>
        <p15:guide id="3" pos="257">
          <p15:clr>
            <a:srgbClr val="A4A3A4"/>
          </p15:clr>
        </p15:guide>
        <p15:guide id="4" pos="7318">
          <p15:clr>
            <a:srgbClr val="A4A3A4"/>
          </p15:clr>
        </p15:guide>
        <p15:guide id="5" pos="8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76"/>
    <a:srgbClr val="D77360"/>
    <a:srgbClr val="ECECEC"/>
    <a:srgbClr val="004B75"/>
    <a:srgbClr val="80CDEC"/>
    <a:srgbClr val="F7BB3D"/>
    <a:srgbClr val="66B692"/>
    <a:srgbClr val="005C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07" autoAdjust="0"/>
    <p:restoredTop sz="97478" autoAdjust="0"/>
  </p:normalViewPr>
  <p:slideViewPr>
    <p:cSldViewPr snapToGrid="0">
      <p:cViewPr varScale="1">
        <p:scale>
          <a:sx n="73" d="100"/>
          <a:sy n="73" d="100"/>
        </p:scale>
        <p:origin x="1230" y="60"/>
      </p:cViewPr>
      <p:guideLst>
        <p:guide pos="3682"/>
        <p:guide orient="horz" pos="3861"/>
        <p:guide pos="257"/>
        <p:guide pos="7318"/>
        <p:guide pos="816"/>
      </p:guideLst>
    </p:cSldViewPr>
  </p:slideViewPr>
  <p:outlineViewPr>
    <p:cViewPr>
      <p:scale>
        <a:sx n="33" d="100"/>
        <a:sy n="33" d="100"/>
      </p:scale>
      <p:origin x="0" y="-1353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258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18" Type="http://schemas.openxmlformats.org/officeDocument/2006/relationships/customXml" Target="../customXml/item4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customXml" Target="../customXml/item1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F9837843-D393-47CB-BCB2-28A8B4F8266B}" type="datetimeFigureOut">
              <a:rPr lang="de-DE"/>
              <a:pPr>
                <a:defRPr/>
              </a:pPr>
              <a:t>07.02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21E2B003-CB14-4273-B8F8-AA4C7D6FDF3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 smtClean="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EDB69EFA-9775-4DFE-B7FD-2B0A5B797108}" type="datetimeFigureOut">
              <a:rPr lang="de-DE"/>
              <a:pPr>
                <a:defRPr/>
              </a:pPr>
              <a:t>07.02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hangingPunct="1">
              <a:defRPr sz="1200" smtClean="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47B904CC-A6F7-4105-B437-4A460E2DB0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114" algn="l" defTabSz="9144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337" algn="l" defTabSz="9144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560" algn="l" defTabSz="9144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783" algn="l" defTabSz="9144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oleObject" Target="../embeddings/oleObject2.bin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image" Target="../media/image2.emf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slideMaster" Target="../slideMasters/slideMaster1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oleObject" Target="../embeddings/oleObject3.bin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18" Type="http://schemas.openxmlformats.org/officeDocument/2006/relationships/tags" Target="../tags/tag141.xml"/><Relationship Id="rId26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21" Type="http://schemas.openxmlformats.org/officeDocument/2006/relationships/tags" Target="../tags/tag144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17" Type="http://schemas.openxmlformats.org/officeDocument/2006/relationships/tags" Target="../tags/tag140.xml"/><Relationship Id="rId25" Type="http://schemas.openxmlformats.org/officeDocument/2006/relationships/tags" Target="../tags/tag148.xml"/><Relationship Id="rId2" Type="http://schemas.openxmlformats.org/officeDocument/2006/relationships/tags" Target="../tags/tag125.xml"/><Relationship Id="rId16" Type="http://schemas.openxmlformats.org/officeDocument/2006/relationships/tags" Target="../tags/tag139.xml"/><Relationship Id="rId20" Type="http://schemas.openxmlformats.org/officeDocument/2006/relationships/tags" Target="../tags/tag143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24" Type="http://schemas.openxmlformats.org/officeDocument/2006/relationships/tags" Target="../tags/tag147.xml"/><Relationship Id="rId5" Type="http://schemas.openxmlformats.org/officeDocument/2006/relationships/tags" Target="../tags/tag128.xml"/><Relationship Id="rId15" Type="http://schemas.openxmlformats.org/officeDocument/2006/relationships/tags" Target="../tags/tag138.xml"/><Relationship Id="rId23" Type="http://schemas.openxmlformats.org/officeDocument/2006/relationships/tags" Target="../tags/tag146.xml"/><Relationship Id="rId28" Type="http://schemas.openxmlformats.org/officeDocument/2006/relationships/image" Target="../media/image1.emf"/><Relationship Id="rId10" Type="http://schemas.openxmlformats.org/officeDocument/2006/relationships/tags" Target="../tags/tag133.xml"/><Relationship Id="rId19" Type="http://schemas.openxmlformats.org/officeDocument/2006/relationships/tags" Target="../tags/tag142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tags" Target="../tags/tag137.xml"/><Relationship Id="rId22" Type="http://schemas.openxmlformats.org/officeDocument/2006/relationships/tags" Target="../tags/tag145.xml"/><Relationship Id="rId27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1.xml"/><Relationship Id="rId7" Type="http://schemas.openxmlformats.org/officeDocument/2006/relationships/oleObject" Target="../embeddings/oleObject41.bin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9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image" Target="../media/image7.emf"/><Relationship Id="rId4" Type="http://schemas.openxmlformats.org/officeDocument/2006/relationships/tags" Target="../tags/tag177.xml"/><Relationship Id="rId9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18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Relationship Id="rId9" Type="http://schemas.openxmlformats.org/officeDocument/2006/relationships/image" Target="../media/image8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18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4" Type="http://schemas.openxmlformats.org/officeDocument/2006/relationships/tags" Target="../tags/tag190.xml"/><Relationship Id="rId9" Type="http://schemas.openxmlformats.org/officeDocument/2006/relationships/image" Target="../media/image8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19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5" Type="http://schemas.openxmlformats.org/officeDocument/2006/relationships/tags" Target="../tags/tag197.xml"/><Relationship Id="rId4" Type="http://schemas.openxmlformats.org/officeDocument/2006/relationships/tags" Target="../tags/tag196.xml"/><Relationship Id="rId9" Type="http://schemas.openxmlformats.org/officeDocument/2006/relationships/image" Target="../media/image8.emf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5" Type="http://schemas.openxmlformats.org/officeDocument/2006/relationships/tags" Target="../tags/tag203.xml"/><Relationship Id="rId10" Type="http://schemas.openxmlformats.org/officeDocument/2006/relationships/image" Target="../media/image8.emf"/><Relationship Id="rId4" Type="http://schemas.openxmlformats.org/officeDocument/2006/relationships/tags" Target="../tags/tag202.xml"/><Relationship Id="rId9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image" Target="../media/image10.emf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image" Target="../media/image7.emf"/><Relationship Id="rId5" Type="http://schemas.openxmlformats.org/officeDocument/2006/relationships/tags" Target="../tags/tag210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209.xml"/><Relationship Id="rId9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10.emf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image" Target="../media/image7.emf"/><Relationship Id="rId5" Type="http://schemas.openxmlformats.org/officeDocument/2006/relationships/tags" Target="../tags/tag218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image" Target="../media/image10.emf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image" Target="../media/image7.emf"/><Relationship Id="rId5" Type="http://schemas.openxmlformats.org/officeDocument/2006/relationships/tags" Target="../tags/tag226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225.xml"/><Relationship Id="rId9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10.emf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11.emf"/><Relationship Id="rId5" Type="http://schemas.openxmlformats.org/officeDocument/2006/relationships/tags" Target="../tags/tag234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233.xml"/><Relationship Id="rId9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10.emf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image" Target="../media/image7.emf"/><Relationship Id="rId5" Type="http://schemas.openxmlformats.org/officeDocument/2006/relationships/tags" Target="../tags/tag242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24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5" Type="http://schemas.openxmlformats.org/officeDocument/2006/relationships/tags" Target="../tags/tag250.xml"/><Relationship Id="rId10" Type="http://schemas.openxmlformats.org/officeDocument/2006/relationships/image" Target="../media/image10.emf"/><Relationship Id="rId4" Type="http://schemas.openxmlformats.org/officeDocument/2006/relationships/tags" Target="../tags/tag249.xml"/><Relationship Id="rId9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54.xml"/><Relationship Id="rId7" Type="http://schemas.openxmlformats.org/officeDocument/2006/relationships/image" Target="../media/image8.emf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10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tags" Target="../tags/tag26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5" Type="http://schemas.openxmlformats.org/officeDocument/2006/relationships/tags" Target="../tags/tag264.xml"/><Relationship Id="rId4" Type="http://schemas.openxmlformats.org/officeDocument/2006/relationships/tags" Target="../tags/tag263.xml"/><Relationship Id="rId9" Type="http://schemas.openxmlformats.org/officeDocument/2006/relationships/image" Target="../media/image8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88.xml"/><Relationship Id="rId7" Type="http://schemas.openxmlformats.org/officeDocument/2006/relationships/oleObject" Target="../embeddings/oleObject58.bin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90.xml"/><Relationship Id="rId4" Type="http://schemas.openxmlformats.org/officeDocument/2006/relationships/tags" Target="../tags/tag289.xml"/><Relationship Id="rId9" Type="http://schemas.openxmlformats.org/officeDocument/2006/relationships/image" Target="../media/image9.jpe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3.xml"/><Relationship Id="rId7" Type="http://schemas.openxmlformats.org/officeDocument/2006/relationships/tags" Target="../tags/tag297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10" Type="http://schemas.openxmlformats.org/officeDocument/2006/relationships/image" Target="../media/image7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tags" Target="../tags/tag30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Relationship Id="rId9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3" Type="http://schemas.openxmlformats.org/officeDocument/2006/relationships/tags" Target="../tags/tag30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4" Type="http://schemas.openxmlformats.org/officeDocument/2006/relationships/tags" Target="../tags/tag307.xml"/><Relationship Id="rId9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31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10" Type="http://schemas.openxmlformats.org/officeDocument/2006/relationships/image" Target="../media/image8.emf"/><Relationship Id="rId4" Type="http://schemas.openxmlformats.org/officeDocument/2006/relationships/tags" Target="../tags/tag319.xml"/><Relationship Id="rId9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3" Type="http://schemas.openxmlformats.org/officeDocument/2006/relationships/tags" Target="../tags/tag325.xml"/><Relationship Id="rId7" Type="http://schemas.openxmlformats.org/officeDocument/2006/relationships/tags" Target="../tags/tag329.xml"/><Relationship Id="rId12" Type="http://schemas.openxmlformats.org/officeDocument/2006/relationships/image" Target="../media/image10.emf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image" Target="../media/image7.emf"/><Relationship Id="rId5" Type="http://schemas.openxmlformats.org/officeDocument/2006/relationships/tags" Target="../tags/tag327.xml"/><Relationship Id="rId10" Type="http://schemas.openxmlformats.org/officeDocument/2006/relationships/oleObject" Target="../embeddings/oleObject64.bin"/><Relationship Id="rId4" Type="http://schemas.openxmlformats.org/officeDocument/2006/relationships/tags" Target="../tags/tag326.xml"/><Relationship Id="rId9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image" Target="../media/image10.emf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tags" Target="../tags/tag336.xml"/><Relationship Id="rId11" Type="http://schemas.openxmlformats.org/officeDocument/2006/relationships/image" Target="../media/image7.emf"/><Relationship Id="rId5" Type="http://schemas.openxmlformats.org/officeDocument/2006/relationships/tags" Target="../tags/tag335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334.xml"/><Relationship Id="rId9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image" Target="../media/image10.emf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image" Target="../media/image7.emf"/><Relationship Id="rId5" Type="http://schemas.openxmlformats.org/officeDocument/2006/relationships/tags" Target="../tags/tag343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342.xml"/><Relationship Id="rId9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12" Type="http://schemas.openxmlformats.org/officeDocument/2006/relationships/image" Target="../media/image10.emf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11.emf"/><Relationship Id="rId5" Type="http://schemas.openxmlformats.org/officeDocument/2006/relationships/tags" Target="../tags/tag351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350.xml"/><Relationship Id="rId9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362.xml"/><Relationship Id="rId3" Type="http://schemas.openxmlformats.org/officeDocument/2006/relationships/tags" Target="../tags/tag357.xml"/><Relationship Id="rId7" Type="http://schemas.openxmlformats.org/officeDocument/2006/relationships/tags" Target="../tags/tag361.xml"/><Relationship Id="rId12" Type="http://schemas.openxmlformats.org/officeDocument/2006/relationships/image" Target="../media/image10.emf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11" Type="http://schemas.openxmlformats.org/officeDocument/2006/relationships/image" Target="../media/image7.emf"/><Relationship Id="rId5" Type="http://schemas.openxmlformats.org/officeDocument/2006/relationships/tags" Target="../tags/tag359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358.xml"/><Relationship Id="rId9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36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5" Type="http://schemas.openxmlformats.org/officeDocument/2006/relationships/tags" Target="../tags/tag367.xml"/><Relationship Id="rId10" Type="http://schemas.openxmlformats.org/officeDocument/2006/relationships/image" Target="../media/image10.emf"/><Relationship Id="rId4" Type="http://schemas.openxmlformats.org/officeDocument/2006/relationships/tags" Target="../tags/tag366.xml"/><Relationship Id="rId9" Type="http://schemas.openxmlformats.org/officeDocument/2006/relationships/image" Target="../media/image8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71.xml"/><Relationship Id="rId7" Type="http://schemas.openxmlformats.org/officeDocument/2006/relationships/image" Target="../media/image8.emf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image" Target="../media/image10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71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tags" Target="../tags/tag37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tags" Target="../tags/tag382.xml"/><Relationship Id="rId5" Type="http://schemas.openxmlformats.org/officeDocument/2006/relationships/tags" Target="../tags/tag381.xml"/><Relationship Id="rId4" Type="http://schemas.openxmlformats.org/officeDocument/2006/relationships/tags" Target="../tags/tag380.xml"/><Relationship Id="rId9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rgbClr val="004B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2050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ACET" hidden="1"/>
          <p:cNvGrpSpPr>
            <a:grpSpLocks/>
          </p:cNvGrpSpPr>
          <p:nvPr/>
        </p:nvGrpSpPr>
        <p:grpSpPr bwMode="auto">
          <a:xfrm>
            <a:off x="642938" y="1778000"/>
            <a:ext cx="5802312" cy="676275"/>
            <a:chOff x="915" y="717"/>
            <a:chExt cx="2686" cy="313"/>
          </a:xfrm>
        </p:grpSpPr>
        <p:cxnSp>
          <p:nvCxnSpPr>
            <p:cNvPr id="7" name="AutoShape 249"/>
            <p:cNvCxnSpPr>
              <a:cxnSpLocks noChangeShapeType="1"/>
              <a:stCxn id="235" idx="4"/>
              <a:endCxn id="2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AutoShape 250">
              <a:extLst>
                <a:ext uri="{FF2B5EF4-FFF2-40B4-BE49-F238E27FC236}">
                  <a16:creationId xmlns:a16="http://schemas.microsoft.com/office/drawing/2014/main" id="{67326F4F-D049-4C75-8265-333792AFF1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de-DE" sz="2133" b="1" dirty="0">
                  <a:latin typeface="+mn-lt"/>
                  <a:ea typeface="+mn-ea"/>
                </a:rPr>
                <a:t>Title</a:t>
              </a:r>
            </a:p>
            <a:p>
              <a:pPr eaLnBrk="1" hangingPunct="1">
                <a:defRPr/>
              </a:pPr>
              <a:r>
                <a:rPr lang="de-DE" sz="2133" dirty="0">
                  <a:latin typeface="+mn-lt"/>
                  <a:ea typeface="+mn-ea"/>
                </a:rPr>
                <a:t>Unit </a:t>
              </a:r>
              <a:r>
                <a:rPr lang="de-DE" sz="2133" dirty="0" err="1">
                  <a:latin typeface="+mn-lt"/>
                  <a:ea typeface="+mn-ea"/>
                </a:rPr>
                <a:t>of</a:t>
              </a:r>
              <a:r>
                <a:rPr lang="de-DE" sz="2133" dirty="0">
                  <a:latin typeface="+mn-lt"/>
                  <a:ea typeface="+mn-ea"/>
                </a:rPr>
                <a:t> </a:t>
              </a:r>
              <a:r>
                <a:rPr lang="de-DE" sz="2133" dirty="0" err="1">
                  <a:latin typeface="+mn-lt"/>
                  <a:ea typeface="+mn-ea"/>
                </a:rPr>
                <a:t>measure</a:t>
              </a:r>
              <a:endParaRPr lang="de-DE" sz="2133" dirty="0">
                <a:latin typeface="+mn-lt"/>
                <a:ea typeface="+mn-ea"/>
              </a:endParaRPr>
            </a:p>
          </p:txBody>
        </p:sp>
      </p:grpSp>
      <p:grpSp>
        <p:nvGrpSpPr>
          <p:cNvPr id="9" name="LegendBoxes" hidden="1"/>
          <p:cNvGrpSpPr>
            <a:grpSpLocks/>
          </p:cNvGrpSpPr>
          <p:nvPr/>
        </p:nvGrpSpPr>
        <p:grpSpPr bwMode="auto">
          <a:xfrm>
            <a:off x="10610850" y="941388"/>
            <a:ext cx="1138238" cy="1350962"/>
            <a:chOff x="4936" y="176"/>
            <a:chExt cx="527" cy="626"/>
          </a:xfrm>
        </p:grpSpPr>
        <p:sp>
          <p:nvSpPr>
            <p:cNvPr id="10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1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3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4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72BF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5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6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55B47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7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8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3372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</p:grpSp>
      <p:grpSp>
        <p:nvGrpSpPr>
          <p:cNvPr id="20" name="LegendLines" hidden="1"/>
          <p:cNvGrpSpPr>
            <a:grpSpLocks/>
          </p:cNvGrpSpPr>
          <p:nvPr/>
        </p:nvGrpSpPr>
        <p:grpSpPr bwMode="auto">
          <a:xfrm>
            <a:off x="10191750" y="941388"/>
            <a:ext cx="1557338" cy="989012"/>
            <a:chOff x="4750" y="176"/>
            <a:chExt cx="721" cy="458"/>
          </a:xfrm>
        </p:grpSpPr>
        <p:sp>
          <p:nvSpPr>
            <p:cNvPr id="21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26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</p:grpSp>
      <p:grpSp>
        <p:nvGrpSpPr>
          <p:cNvPr id="27" name="Sticker" hidden="1"/>
          <p:cNvGrpSpPr>
            <a:grpSpLocks/>
          </p:cNvGrpSpPr>
          <p:nvPr/>
        </p:nvGrpSpPr>
        <p:grpSpPr bwMode="auto">
          <a:xfrm>
            <a:off x="10983913" y="950913"/>
            <a:ext cx="765175" cy="303212"/>
            <a:chOff x="8177646" y="295110"/>
            <a:chExt cx="563129" cy="222728"/>
          </a:xfrm>
        </p:grpSpPr>
        <p:sp>
          <p:nvSpPr>
            <p:cNvPr id="28" name="StickerRectangle"/>
            <p:cNvSpPr>
              <a:spLocks noChangeArrowheads="1"/>
            </p:cNvSpPr>
            <p:nvPr/>
          </p:nvSpPr>
          <p:spPr bwMode="gray">
            <a:xfrm>
              <a:off x="8177646" y="295110"/>
              <a:ext cx="563129" cy="2227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STICKER</a:t>
              </a:r>
            </a:p>
          </p:txBody>
        </p:sp>
        <p:cxnSp>
          <p:nvCxnSpPr>
            <p:cNvPr id="29" name="AutoShape 32"/>
            <p:cNvCxnSpPr>
              <a:cxnSpLocks noChangeShapeType="1"/>
              <a:stCxn id="2098" idx="4"/>
              <a:endCxn id="2098" idx="6"/>
            </p:cNvCxnSpPr>
            <p:nvPr/>
          </p:nvCxnSpPr>
          <p:spPr bwMode="gray">
            <a:xfrm>
              <a:off x="8177646" y="517838"/>
              <a:ext cx="56312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AutoShape 32"/>
            <p:cNvCxnSpPr>
              <a:cxnSpLocks noChangeShapeType="1"/>
              <a:stCxn id="2098" idx="2"/>
              <a:endCxn id="2098" idx="0"/>
            </p:cNvCxnSpPr>
            <p:nvPr userDrawn="1"/>
          </p:nvCxnSpPr>
          <p:spPr bwMode="gray">
            <a:xfrm>
              <a:off x="8177646" y="295110"/>
              <a:ext cx="56312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1" name="LegendMoons" hidden="1"/>
          <p:cNvGrpSpPr>
            <a:grpSpLocks/>
          </p:cNvGrpSpPr>
          <p:nvPr/>
        </p:nvGrpSpPr>
        <p:grpSpPr bwMode="auto">
          <a:xfrm>
            <a:off x="10504488" y="941388"/>
            <a:ext cx="1244600" cy="1776412"/>
            <a:chOff x="7769225" y="2105025"/>
            <a:chExt cx="915390" cy="1306516"/>
          </a:xfrm>
        </p:grpSpPr>
        <p:grpSp>
          <p:nvGrpSpPr>
            <p:cNvPr id="32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0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51" name="Arc 39">
                <a:extLst>
                  <a:ext uri="{FF2B5EF4-FFF2-40B4-BE49-F238E27FC236}">
                    <a16:creationId xmlns:a16="http://schemas.microsoft.com/office/drawing/2014/main" id="{2EF6E64B-E9EB-494C-83FB-007E7FB142AA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4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9" name="Arc 42">
                <a:extLst>
                  <a:ext uri="{FF2B5EF4-FFF2-40B4-BE49-F238E27FC236}">
                    <a16:creationId xmlns:a16="http://schemas.microsoft.com/office/drawing/2014/main" id="{4F3D0221-B283-4579-B397-F5330A0014C2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7" name="Arc 48">
                <a:extLst>
                  <a:ext uri="{FF2B5EF4-FFF2-40B4-BE49-F238E27FC236}">
                    <a16:creationId xmlns:a16="http://schemas.microsoft.com/office/drawing/2014/main" id="{A2A90D3D-76A7-49E1-B27E-ABC461AF523A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5" name="Oval 51">
                <a:extLst>
                  <a:ext uri="{FF2B5EF4-FFF2-40B4-BE49-F238E27FC236}">
                    <a16:creationId xmlns:a16="http://schemas.microsoft.com/office/drawing/2014/main" id="{E8759416-6C68-42C6-8D9F-1C892B3645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40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grpSp>
          <p:nvGrpSpPr>
            <p:cNvPr id="41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3" name="Arc 48">
                <a:extLst>
                  <a:ext uri="{FF2B5EF4-FFF2-40B4-BE49-F238E27FC236}">
                    <a16:creationId xmlns:a16="http://schemas.microsoft.com/office/drawing/2014/main" id="{E4E23CA7-BF4B-4C0F-BC49-209BD8CC9824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52" name="3. Unit of measure" hidden="1">
            <a:extLst>
              <a:ext uri="{FF2B5EF4-FFF2-40B4-BE49-F238E27FC236}">
                <a16:creationId xmlns:a16="http://schemas.microsoft.com/office/drawing/2014/main" id="{C1C5E9FC-6DFB-4661-BBC8-BFE79A2A891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42938" y="941388"/>
            <a:ext cx="11106150" cy="32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tabLst>
                <a:tab pos="596885" algn="l"/>
              </a:tabLst>
              <a:defRPr/>
            </a:pPr>
            <a:r>
              <a:rPr lang="de-DE" sz="2133">
                <a:latin typeface="+mn-lt"/>
                <a:ea typeface="+mn-ea"/>
              </a:rPr>
              <a:t>Subtitle</a:t>
            </a:r>
            <a:endParaRPr lang="de-DE" sz="2133" dirty="0">
              <a:latin typeface="+mn-lt"/>
              <a:ea typeface="+mn-ea"/>
            </a:endParaRPr>
          </a:p>
        </p:txBody>
      </p:sp>
      <p:sp>
        <p:nvSpPr>
          <p:cNvPr id="53" name="1. On-page tracker" hidden="1">
            <a:extLst>
              <a:ext uri="{FF2B5EF4-FFF2-40B4-BE49-F238E27FC236}">
                <a16:creationId xmlns:a16="http://schemas.microsoft.com/office/drawing/2014/main" id="{F2397FCC-58BD-48D6-B195-C27C77AD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938" y="53975"/>
            <a:ext cx="8366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>
              <a:tabLst>
                <a:tab pos="596885" algn="l"/>
              </a:tabLst>
              <a:defRPr/>
            </a:pPr>
            <a:r>
              <a:rPr lang="de-DE" sz="1600" cap="all" dirty="0" err="1">
                <a:latin typeface="+mn-lt"/>
                <a:ea typeface="+mj-ea"/>
              </a:rPr>
              <a:t>TRACKER</a:t>
            </a:r>
            <a:endParaRPr lang="de-DE" sz="1600" cap="all" dirty="0">
              <a:latin typeface="+mn-lt"/>
              <a:ea typeface="+mj-ea"/>
            </a:endParaRPr>
          </a:p>
        </p:txBody>
      </p:sp>
      <p:grpSp>
        <p:nvGrpSpPr>
          <p:cNvPr id="54" name="Moon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1403013" y="3889375"/>
            <a:ext cx="346075" cy="344488"/>
            <a:chOff x="762000" y="1270000"/>
            <a:chExt cx="254000" cy="254000"/>
          </a:xfrm>
        </p:grpSpPr>
        <p:sp>
          <p:nvSpPr>
            <p:cNvPr id="55" name="Oval 286">
              <a:extLst>
                <a:ext uri="{FF2B5EF4-FFF2-40B4-BE49-F238E27FC236}">
                  <a16:creationId xmlns:a16="http://schemas.microsoft.com/office/drawing/2014/main" id="{225CDC12-613F-4CBC-BA3D-52A937C7198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56" name="Arc 287">
              <a:extLst>
                <a:ext uri="{FF2B5EF4-FFF2-40B4-BE49-F238E27FC236}">
                  <a16:creationId xmlns:a16="http://schemas.microsoft.com/office/drawing/2014/main" id="{0CD8258A-FCA7-4622-8D5B-8324DA89B6E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337299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00" dirty="0"/>
            </a:p>
          </p:txBody>
        </p:sp>
      </p:grpSp>
      <p:sp>
        <p:nvSpPr>
          <p:cNvPr id="57" name="Oval" hidden="1">
            <a:extLst>
              <a:ext uri="{FF2B5EF4-FFF2-40B4-BE49-F238E27FC236}">
                <a16:creationId xmlns:a16="http://schemas.microsoft.com/office/drawing/2014/main" id="{AAEEEC64-41F4-49EB-BDB4-5F1FABDE832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689850" y="1244600"/>
            <a:ext cx="1754188" cy="1754188"/>
          </a:xfrm>
          <a:prstGeom prst="ellipse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8000" tIns="48000" rIns="48000" bIns="48000" anchor="ctr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58" name="Rectangle" hidden="1">
            <a:extLst>
              <a:ext uri="{FF2B5EF4-FFF2-40B4-BE49-F238E27FC236}">
                <a16:creationId xmlns:a16="http://schemas.microsoft.com/office/drawing/2014/main" id="{2D6C430B-CBFD-49DE-8C43-0F367B2184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870325" y="1244600"/>
            <a:ext cx="1754188" cy="175418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96000" rIns="96000" bIns="96000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59" name="RoundedRectangle" hidden="1">
            <a:extLst>
              <a:ext uri="{FF2B5EF4-FFF2-40B4-BE49-F238E27FC236}">
                <a16:creationId xmlns:a16="http://schemas.microsoft.com/office/drawing/2014/main" id="{74017F43-6896-4287-B25A-3224B3092F0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780088" y="1244600"/>
            <a:ext cx="1754187" cy="1754188"/>
          </a:xfrm>
          <a:prstGeom prst="round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96000" rIns="96000" bIns="96000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60" name="Arrow" hidden="1">
            <a:extLst>
              <a:ext uri="{FF2B5EF4-FFF2-40B4-BE49-F238E27FC236}">
                <a16:creationId xmlns:a16="http://schemas.microsoft.com/office/drawing/2014/main" id="{1661818F-9796-4568-A871-51F991C8038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868738" y="4370388"/>
            <a:ext cx="2103437" cy="1052512"/>
          </a:xfrm>
          <a:prstGeom prst="rightArrow">
            <a:avLst>
              <a:gd name="adj1" fmla="val 54000"/>
              <a:gd name="adj2" fmla="val 37678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0" rIns="0" bIns="0" anchor="ctr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61" name="DirArrow" hidden="1">
            <a:extLst>
              <a:ext uri="{FF2B5EF4-FFF2-40B4-BE49-F238E27FC236}">
                <a16:creationId xmlns:a16="http://schemas.microsoft.com/office/drawing/2014/main" id="{158966D4-0635-4754-AC79-5C17C8C1D032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5400000">
            <a:off x="8019257" y="2824956"/>
            <a:ext cx="3556000" cy="395287"/>
          </a:xfrm>
          <a:prstGeom prst="triangle">
            <a:avLst>
              <a:gd name="adj" fmla="val 50000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de-DE" sz="2133" dirty="0">
              <a:latin typeface="+mn-lt"/>
              <a:ea typeface="+mn-ea"/>
              <a:sym typeface="+mn-lt"/>
            </a:endParaRPr>
          </a:p>
        </p:txBody>
      </p:sp>
      <p:sp>
        <p:nvSpPr>
          <p:cNvPr id="62" name="Bracket" hidden="1">
            <a:extLst>
              <a:ext uri="{FF2B5EF4-FFF2-40B4-BE49-F238E27FC236}">
                <a16:creationId xmlns:a16="http://schemas.microsoft.com/office/drawing/2014/main" id="{5FCCB044-E9BF-430D-A825-D3CC24041CA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485188" y="3159125"/>
            <a:ext cx="254000" cy="210343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868"/>
              <a:gd name="connsiteY0" fmla="*/ 0 h 3282"/>
              <a:gd name="connsiteX1" fmla="*/ 3818 w 3868"/>
              <a:gd name="connsiteY1" fmla="*/ 213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79 w 3868"/>
              <a:gd name="connsiteY2" fmla="*/ 537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3818 w 3818"/>
              <a:gd name="connsiteY4" fmla="*/ 2754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79 w 3818"/>
              <a:gd name="connsiteY4" fmla="*/ 615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753"/>
              <a:gd name="connsiteY0" fmla="*/ 0 h 3282"/>
              <a:gd name="connsiteX1" fmla="*/ 79 w 3753"/>
              <a:gd name="connsiteY1" fmla="*/ 0 h 3282"/>
              <a:gd name="connsiteX2" fmla="*/ 79 w 3753"/>
              <a:gd name="connsiteY2" fmla="*/ 537 h 3282"/>
              <a:gd name="connsiteX3" fmla="*/ 118 w 3753"/>
              <a:gd name="connsiteY3" fmla="*/ 576 h 3282"/>
              <a:gd name="connsiteX4" fmla="*/ 79 w 3753"/>
              <a:gd name="connsiteY4" fmla="*/ 615 h 3282"/>
              <a:gd name="connsiteX5" fmla="*/ 79 w 3753"/>
              <a:gd name="connsiteY5" fmla="*/ 1152 h 3282"/>
              <a:gd name="connsiteX6" fmla="*/ 3753 w 3753"/>
              <a:gd name="connsiteY6" fmla="*/ 3282 h 3282"/>
              <a:gd name="connsiteX0" fmla="*/ 0 w 118"/>
              <a:gd name="connsiteY0" fmla="*/ 0 h 1152"/>
              <a:gd name="connsiteX1" fmla="*/ 79 w 118"/>
              <a:gd name="connsiteY1" fmla="*/ 0 h 1152"/>
              <a:gd name="connsiteX2" fmla="*/ 79 w 118"/>
              <a:gd name="connsiteY2" fmla="*/ 537 h 1152"/>
              <a:gd name="connsiteX3" fmla="*/ 118 w 118"/>
              <a:gd name="connsiteY3" fmla="*/ 576 h 1152"/>
              <a:gd name="connsiteX4" fmla="*/ 79 w 118"/>
              <a:gd name="connsiteY4" fmla="*/ 615 h 1152"/>
              <a:gd name="connsiteX5" fmla="*/ 79 w 118"/>
              <a:gd name="connsiteY5" fmla="*/ 1152 h 1152"/>
              <a:gd name="connsiteX6" fmla="*/ 0 w 118"/>
              <a:gd name="connsiteY6" fmla="*/ 1152 h 1152"/>
              <a:gd name="connsiteX0" fmla="*/ 0 w 4763"/>
              <a:gd name="connsiteY0" fmla="*/ 0 h 2881"/>
              <a:gd name="connsiteX1" fmla="*/ 4724 w 4763"/>
              <a:gd name="connsiteY1" fmla="*/ 1729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93 w 4763"/>
              <a:gd name="connsiteY2" fmla="*/ 529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4724 w 4724"/>
              <a:gd name="connsiteY4" fmla="*/ 2344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93 w 4724"/>
              <a:gd name="connsiteY4" fmla="*/ 622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  <a:gd name="connsiteX0" fmla="*/ 0 w 4784"/>
              <a:gd name="connsiteY0" fmla="*/ 0 h 2881"/>
              <a:gd name="connsiteX1" fmla="*/ 4738 w 4784"/>
              <a:gd name="connsiteY1" fmla="*/ 1729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93 w 4784"/>
              <a:gd name="connsiteY2" fmla="*/ 529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4738 w 4738"/>
              <a:gd name="connsiteY4" fmla="*/ 2351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93 w 4738"/>
              <a:gd name="connsiteY4" fmla="*/ 622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9" h="1152">
                <a:moveTo>
                  <a:pt x="0" y="0"/>
                </a:moveTo>
                <a:lnTo>
                  <a:pt x="93" y="0"/>
                </a:lnTo>
                <a:lnTo>
                  <a:pt x="93" y="529"/>
                </a:lnTo>
                <a:lnTo>
                  <a:pt x="139" y="576"/>
                </a:lnTo>
                <a:lnTo>
                  <a:pt x="93" y="622"/>
                </a:lnTo>
                <a:lnTo>
                  <a:pt x="93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de-DE" sz="2133" dirty="0">
              <a:latin typeface="+mn-lt"/>
              <a:ea typeface="+mn-ea"/>
              <a:sym typeface="+mn-lt"/>
            </a:endParaRPr>
          </a:p>
        </p:txBody>
      </p:sp>
      <p:grpSp>
        <p:nvGrpSpPr>
          <p:cNvPr id="63" name="Flow" hidden="1">
            <a:extLst>
              <a:ext uri="{FF2B5EF4-FFF2-40B4-BE49-F238E27FC236}">
                <a16:creationId xmlns:a16="http://schemas.microsoft.com/office/drawing/2014/main" id="{15CD1487-2678-44E2-B5CC-49CEB35C48CB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 bwMode="gray">
          <a:xfrm>
            <a:off x="3870786" y="3158730"/>
            <a:ext cx="2104535" cy="1052068"/>
            <a:chOff x="5905500" y="3124200"/>
            <a:chExt cx="1828800" cy="914400"/>
          </a:xfrm>
          <a:solidFill>
            <a:srgbClr val="DCB45A"/>
          </a:solidFill>
        </p:grpSpPr>
        <p:sp>
          <p:nvSpPr>
            <p:cNvPr id="64" name="Freeform 85">
              <a:extLst>
                <a:ext uri="{FF2B5EF4-FFF2-40B4-BE49-F238E27FC236}">
                  <a16:creationId xmlns:a16="http://schemas.microsoft.com/office/drawing/2014/main" id="{6EF94FCB-53EA-4797-A26F-EBE1A10BEA94}"/>
                </a:ext>
              </a:extLst>
            </p:cNvPr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65" name="TextBox 290">
              <a:extLst>
                <a:ext uri="{FF2B5EF4-FFF2-40B4-BE49-F238E27FC236}">
                  <a16:creationId xmlns:a16="http://schemas.microsoft.com/office/drawing/2014/main" id="{D66916BC-2C12-4199-9019-E1682114580E}"/>
                </a:ext>
              </a:extLst>
            </p:cNvPr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</p:grpSp>
      <p:grpSp>
        <p:nvGrpSpPr>
          <p:cNvPr id="66" name="SplitFlow" hidden="1">
            <a:extLst>
              <a:ext uri="{FF2B5EF4-FFF2-40B4-BE49-F238E27FC236}">
                <a16:creationId xmlns:a16="http://schemas.microsoft.com/office/drawing/2014/main" id="{73A0864C-2FD8-4FCE-ACEB-DEE00BA7CF76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6177881" y="3158730"/>
            <a:ext cx="2104535" cy="1052068"/>
            <a:chOff x="114300" y="1270000"/>
            <a:chExt cx="1828800" cy="914400"/>
          </a:xfrm>
          <a:solidFill>
            <a:srgbClr val="DCB45A"/>
          </a:solidFill>
        </p:grpSpPr>
        <p:sp>
          <p:nvSpPr>
            <p:cNvPr id="67" name="Freeform 88">
              <a:extLst>
                <a:ext uri="{FF2B5EF4-FFF2-40B4-BE49-F238E27FC236}">
                  <a16:creationId xmlns:a16="http://schemas.microsoft.com/office/drawing/2014/main" id="{7F450F19-2202-46C9-B60D-9542379B2702}"/>
                </a:ext>
              </a:extLst>
            </p:cNvPr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68" name="TextBox 293">
              <a:extLst>
                <a:ext uri="{FF2B5EF4-FFF2-40B4-BE49-F238E27FC236}">
                  <a16:creationId xmlns:a16="http://schemas.microsoft.com/office/drawing/2014/main" id="{15247FC2-B846-48EF-B0A5-0E1AC51708E7}"/>
                </a:ext>
              </a:extLst>
            </p:cNvPr>
            <p:cNvSpPr txBox="1"/>
            <p:nvPr/>
          </p:nvSpPr>
          <p:spPr bwMode="gray">
            <a:xfrm>
              <a:off x="177800" y="1327150"/>
              <a:ext cx="1524000" cy="336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  <p:sp>
          <p:nvSpPr>
            <p:cNvPr id="69" name="Freeform 90">
              <a:extLst>
                <a:ext uri="{FF2B5EF4-FFF2-40B4-BE49-F238E27FC236}">
                  <a16:creationId xmlns:a16="http://schemas.microsoft.com/office/drawing/2014/main" id="{6901536F-391C-4721-9A47-FA9FDF2C8987}"/>
                </a:ext>
              </a:extLst>
            </p:cNvPr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70" name="TextBox 295">
              <a:extLst>
                <a:ext uri="{FF2B5EF4-FFF2-40B4-BE49-F238E27FC236}">
                  <a16:creationId xmlns:a16="http://schemas.microsoft.com/office/drawing/2014/main" id="{29AF8259-FE75-48B0-8B41-F897677AFE7C}"/>
                </a:ext>
              </a:extLst>
            </p:cNvPr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</p:grpSp>
      <p:sp>
        <p:nvSpPr>
          <p:cNvPr id="71" name="4. Footnote" hidden="1">
            <a:extLst>
              <a:ext uri="{FF2B5EF4-FFF2-40B4-BE49-F238E27FC236}">
                <a16:creationId xmlns:a16="http://schemas.microsoft.com/office/drawing/2014/main" id="{62A356C6-7F50-4D97-A742-34F98DCA18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19275" y="6224588"/>
            <a:ext cx="9337675" cy="16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6782" indent="-86782" eaLnBrk="1" hangingPunct="1">
              <a:defRPr/>
            </a:pPr>
            <a:r>
              <a:rPr lang="de-DE" sz="1067" dirty="0">
                <a:latin typeface="+mn-lt"/>
                <a:ea typeface="+mn-ea"/>
              </a:rPr>
              <a:t>1 Fußnote</a:t>
            </a:r>
          </a:p>
        </p:txBody>
      </p:sp>
      <p:sp>
        <p:nvSpPr>
          <p:cNvPr id="72" name="5. Source" hidden="1">
            <a:extLst>
              <a:ext uri="{FF2B5EF4-FFF2-40B4-BE49-F238E27FC236}">
                <a16:creationId xmlns:a16="http://schemas.microsoft.com/office/drawing/2014/main" id="{344D905E-19C6-4CC0-B71D-D835FCD0B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19275" y="6430963"/>
            <a:ext cx="933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353475" indent="-353475" defTabSz="1193770" eaLnBrk="1" hangingPunct="1">
              <a:defRPr/>
            </a:pPr>
            <a:r>
              <a:rPr lang="de-DE" sz="1067" dirty="0">
                <a:solidFill>
                  <a:srgbClr val="000000"/>
                </a:solidFill>
                <a:latin typeface="+mn-lt"/>
                <a:ea typeface="+mn-ea"/>
              </a:rPr>
              <a:t>Quelle: Quelle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F0072255-5BB5-B54C-9E36-28BB27031309}"/>
              </a:ext>
            </a:extLst>
          </p:cNvPr>
          <p:cNvSpPr/>
          <p:nvPr userDrawn="1"/>
        </p:nvSpPr>
        <p:spPr>
          <a:xfrm>
            <a:off x="-727075" y="896938"/>
            <a:ext cx="285750" cy="10604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74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60" imgH="360" progId="TCLayout.ActiveDocument.1">
                  <p:embed/>
                </p:oleObj>
              </mc:Choice>
              <mc:Fallback>
                <p:oleObj name="think-cell Folie" r:id="rId31" imgW="360" imgH="360" progId="TCLayout.ActiveDocument.1">
                  <p:embed/>
                  <p:pic>
                    <p:nvPicPr>
                      <p:cNvPr id="207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2" hidden="1">
            <a:extLst>
              <a:ext uri="{FF2B5EF4-FFF2-40B4-BE49-F238E27FC236}">
                <a16:creationId xmlns:a16="http://schemas.microsoft.com/office/drawing/2014/main" id="{0460B56F-C52D-4532-B51C-784D0C9D3198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867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76" name="Document type" hidden="1"/>
          <p:cNvSpPr txBox="1">
            <a:spLocks noChangeArrowheads="1"/>
          </p:cNvSpPr>
          <p:nvPr/>
        </p:nvSpPr>
        <p:spPr bwMode="gray">
          <a:xfrm>
            <a:off x="1300163" y="5468938"/>
            <a:ext cx="6596062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dirty="0">
                <a:latin typeface="+mn-lt"/>
                <a:ea typeface="+mn-ea"/>
              </a:rPr>
              <a:t>Dokument</a:t>
            </a:r>
          </a:p>
        </p:txBody>
      </p:sp>
      <p:sp>
        <p:nvSpPr>
          <p:cNvPr id="77" name="Date" hidden="1"/>
          <p:cNvSpPr txBox="1">
            <a:spLocks noChangeArrowheads="1"/>
          </p:cNvSpPr>
          <p:nvPr/>
        </p:nvSpPr>
        <p:spPr bwMode="gray">
          <a:xfrm>
            <a:off x="1300163" y="5768975"/>
            <a:ext cx="659606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dirty="0">
                <a:latin typeface="+mn-lt"/>
                <a:ea typeface="+mn-ea"/>
              </a:rPr>
              <a:t>Ort, Datum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3588" cy="3633162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28000" y="4042831"/>
            <a:ext cx="10402159" cy="1191604"/>
          </a:xfrm>
        </p:spPr>
        <p:txBody>
          <a:bodyPr/>
          <a:lstStyle>
            <a:lvl1pPr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de-DE" sz="4000" b="1" kern="1200" dirty="0">
                <a:solidFill>
                  <a:schemeClr val="bg1"/>
                </a:solidFill>
                <a:latin typeface="BundesSans Bold" panose="020B0002030500000203" pitchFamily="34" charset="0"/>
                <a:ea typeface="+mj-ea"/>
                <a:cs typeface="+mj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828000" y="5273497"/>
            <a:ext cx="10402159" cy="433068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8662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Logo mit Bild/Fläche -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19F53BBD-34DD-BA4A-B867-151CFF5327A0}"/>
              </a:ext>
            </a:extLst>
          </p:cNvPr>
          <p:cNvSpPr/>
          <p:nvPr userDrawn="1"/>
        </p:nvSpPr>
        <p:spPr>
          <a:xfrm>
            <a:off x="8137525" y="0"/>
            <a:ext cx="405606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aa-ET" sz="2176" dirty="0"/>
          </a:p>
        </p:txBody>
      </p:sp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267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400" y="507600"/>
            <a:ext cx="4690800" cy="58428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999" y="972000"/>
            <a:ext cx="5435951" cy="1313309"/>
          </a:xfrm>
        </p:spPr>
        <p:txBody>
          <a:bodyPr/>
          <a:lstStyle>
            <a:lvl1pPr>
              <a:lnSpc>
                <a:spcPct val="90000"/>
              </a:lnSpc>
              <a:defRPr sz="4400" b="0" i="0" baseline="0">
                <a:solidFill>
                  <a:schemeClr val="tx1"/>
                </a:solidFill>
                <a:latin typeface="BundesSans Bold" panose="020B0002030500000203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28675" y="2627313"/>
            <a:ext cx="4516438" cy="333223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F04A0C1-13CD-493E-9E82-F8EBDCD3A980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899706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mit Bild/Fläche - invers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229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400" y="507600"/>
            <a:ext cx="4690800" cy="58428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28674" y="972000"/>
            <a:ext cx="5503702" cy="1448731"/>
          </a:xfrm>
        </p:spPr>
        <p:txBody>
          <a:bodyPr/>
          <a:lstStyle>
            <a:lvl1pPr>
              <a:defRPr sz="44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28675" y="2619375"/>
            <a:ext cx="4514850" cy="371513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011265A7-2A7D-49BC-AB67-4B09959ECDA4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864172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mit Bild/Fläche - invers 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331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400" y="507600"/>
            <a:ext cx="4690800" cy="58428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28674" y="972000"/>
            <a:ext cx="5503702" cy="1448731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28675" y="2619375"/>
            <a:ext cx="4514850" cy="371513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A097487-851D-4766-8EF6-6B7AF16907E5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3419596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2 Spal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433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7700" y="2880000"/>
            <a:ext cx="511175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363125" y="2880000"/>
            <a:ext cx="511175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720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C8F7DD1-32FF-43FF-8967-A871B470457B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5347637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Logo 2 Spal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536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7700" y="2880000"/>
            <a:ext cx="511175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363125" y="2880000"/>
            <a:ext cx="511175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720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3297B01-B8F5-434B-A945-F5160DAE83F2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3257532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3 Spal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638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7699" y="2880000"/>
            <a:ext cx="334800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8159953" y="2888912"/>
            <a:ext cx="334800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4403826" y="2888912"/>
            <a:ext cx="334800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720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D3C4ED61-90A8-4CF4-AFEC-AA642E6CBF6E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771565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Logo 3 Spal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7699" y="2880000"/>
            <a:ext cx="334800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8159953" y="2888912"/>
            <a:ext cx="334800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4403826" y="2888912"/>
            <a:ext cx="3348000" cy="1943092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720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21D4B14-264C-4340-8433-2FA9F4901A4D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42139753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unkte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843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828000" y="2613024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828000" y="3657885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828000" y="4702746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/>
          </p:nvPr>
        </p:nvSpPr>
        <p:spPr>
          <a:xfrm>
            <a:off x="1377950" y="2802360"/>
            <a:ext cx="2381250" cy="230832"/>
          </a:xfrm>
        </p:spPr>
        <p:txBody>
          <a:bodyPr anchor="ctr"/>
          <a:lstStyle/>
          <a:p>
            <a:pPr lvl="0"/>
            <a:endParaRPr lang="de-DE" dirty="0"/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1377950" y="3847069"/>
            <a:ext cx="2381250" cy="230832"/>
          </a:xfrm>
        </p:spPr>
        <p:txBody>
          <a:bodyPr anchor="ctr"/>
          <a:lstStyle/>
          <a:p>
            <a:pPr lvl="0"/>
            <a:endParaRPr lang="de-DE" dirty="0"/>
          </a:p>
        </p:txBody>
      </p:sp>
      <p:sp>
        <p:nvSpPr>
          <p:cNvPr id="23" name="Textplatzhalter 20"/>
          <p:cNvSpPr>
            <a:spLocks noGrp="1"/>
          </p:cNvSpPr>
          <p:nvPr>
            <p:ph type="body" sz="quarter" idx="21"/>
          </p:nvPr>
        </p:nvSpPr>
        <p:spPr>
          <a:xfrm>
            <a:off x="1377950" y="4898131"/>
            <a:ext cx="2381250" cy="230832"/>
          </a:xfrm>
        </p:spPr>
        <p:txBody>
          <a:bodyPr anchor="ctr"/>
          <a:lstStyle/>
          <a:p>
            <a:pPr lvl="0"/>
            <a:endParaRPr lang="de-DE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2"/>
          </p:nvPr>
        </p:nvSpPr>
        <p:spPr>
          <a:xfrm>
            <a:off x="10611050" y="2609848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23"/>
          </p:nvPr>
        </p:nvSpPr>
        <p:spPr>
          <a:xfrm>
            <a:off x="10611050" y="3654709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24"/>
          </p:nvPr>
        </p:nvSpPr>
        <p:spPr>
          <a:xfrm>
            <a:off x="10611050" y="4699570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25"/>
          </p:nvPr>
        </p:nvSpPr>
        <p:spPr>
          <a:xfrm>
            <a:off x="7988300" y="2803948"/>
            <a:ext cx="2381250" cy="23083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26"/>
          </p:nvPr>
        </p:nvSpPr>
        <p:spPr>
          <a:xfrm>
            <a:off x="7988300" y="3848657"/>
            <a:ext cx="2381250" cy="23083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27"/>
          </p:nvPr>
        </p:nvSpPr>
        <p:spPr>
          <a:xfrm>
            <a:off x="7988300" y="4899719"/>
            <a:ext cx="2381250" cy="23083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28"/>
          </p:nvPr>
        </p:nvSpPr>
        <p:spPr>
          <a:xfrm>
            <a:off x="4191000" y="2489200"/>
            <a:ext cx="3403600" cy="328295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9"/>
          </p:nvPr>
        </p:nvSpPr>
        <p:spPr>
          <a:xfrm>
            <a:off x="829112" y="720000"/>
            <a:ext cx="10402888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A5CBD80-2150-483B-86A0-D1EC3B74F10D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32388565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unkte Logo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828000" y="2613024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828000" y="3657885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828000" y="4702746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/>
          </p:nvPr>
        </p:nvSpPr>
        <p:spPr>
          <a:xfrm>
            <a:off x="1377950" y="2802360"/>
            <a:ext cx="2381250" cy="230832"/>
          </a:xfrm>
        </p:spPr>
        <p:txBody>
          <a:bodyPr anchor="ctr"/>
          <a:lstStyle/>
          <a:p>
            <a:pPr lvl="0"/>
            <a:endParaRPr lang="de-DE" dirty="0"/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1377950" y="3847069"/>
            <a:ext cx="2381250" cy="230832"/>
          </a:xfrm>
        </p:spPr>
        <p:txBody>
          <a:bodyPr anchor="ctr"/>
          <a:lstStyle/>
          <a:p>
            <a:pPr lvl="0"/>
            <a:endParaRPr lang="de-DE" dirty="0"/>
          </a:p>
        </p:txBody>
      </p:sp>
      <p:sp>
        <p:nvSpPr>
          <p:cNvPr id="23" name="Textplatzhalter 20"/>
          <p:cNvSpPr>
            <a:spLocks noGrp="1"/>
          </p:cNvSpPr>
          <p:nvPr>
            <p:ph type="body" sz="quarter" idx="21"/>
          </p:nvPr>
        </p:nvSpPr>
        <p:spPr>
          <a:xfrm>
            <a:off x="1377950" y="4898131"/>
            <a:ext cx="2381250" cy="230832"/>
          </a:xfrm>
        </p:spPr>
        <p:txBody>
          <a:bodyPr anchor="ctr"/>
          <a:lstStyle/>
          <a:p>
            <a:pPr lvl="0"/>
            <a:endParaRPr lang="de-DE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2"/>
          </p:nvPr>
        </p:nvSpPr>
        <p:spPr>
          <a:xfrm>
            <a:off x="10611050" y="2609848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23"/>
          </p:nvPr>
        </p:nvSpPr>
        <p:spPr>
          <a:xfrm>
            <a:off x="10611050" y="3654709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24"/>
          </p:nvPr>
        </p:nvSpPr>
        <p:spPr>
          <a:xfrm>
            <a:off x="10611050" y="4699570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25"/>
          </p:nvPr>
        </p:nvSpPr>
        <p:spPr>
          <a:xfrm>
            <a:off x="7988300" y="2803948"/>
            <a:ext cx="2381250" cy="23083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26"/>
          </p:nvPr>
        </p:nvSpPr>
        <p:spPr>
          <a:xfrm>
            <a:off x="7988300" y="3848657"/>
            <a:ext cx="2381250" cy="23083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27"/>
          </p:nvPr>
        </p:nvSpPr>
        <p:spPr>
          <a:xfrm>
            <a:off x="7988300" y="4899719"/>
            <a:ext cx="2381250" cy="230832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endParaRPr lang="de-DE" dirty="0"/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28"/>
          </p:nvPr>
        </p:nvSpPr>
        <p:spPr>
          <a:xfrm>
            <a:off x="4191000" y="2489200"/>
            <a:ext cx="3403600" cy="328295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9"/>
          </p:nvPr>
        </p:nvSpPr>
        <p:spPr>
          <a:xfrm>
            <a:off x="829112" y="720000"/>
            <a:ext cx="10402888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9C9B8CA-1DBB-4CB7-A2B8-A4F43D9276B4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2328851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unkte -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048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828000" y="2613024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828000" y="3657885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828000" y="4702746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/>
          </p:nvPr>
        </p:nvSpPr>
        <p:spPr>
          <a:xfrm>
            <a:off x="1377950" y="2802360"/>
            <a:ext cx="2381250" cy="2308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1377950" y="3847069"/>
            <a:ext cx="2381250" cy="2308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Textplatzhalter 20"/>
          <p:cNvSpPr>
            <a:spLocks noGrp="1"/>
          </p:cNvSpPr>
          <p:nvPr>
            <p:ph type="body" sz="quarter" idx="21"/>
          </p:nvPr>
        </p:nvSpPr>
        <p:spPr>
          <a:xfrm>
            <a:off x="1377950" y="4898131"/>
            <a:ext cx="2381250" cy="2308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2"/>
          </p:nvPr>
        </p:nvSpPr>
        <p:spPr>
          <a:xfrm>
            <a:off x="10611050" y="2609848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23"/>
          </p:nvPr>
        </p:nvSpPr>
        <p:spPr>
          <a:xfrm>
            <a:off x="10611050" y="3654709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24"/>
          </p:nvPr>
        </p:nvSpPr>
        <p:spPr>
          <a:xfrm>
            <a:off x="10611050" y="4699570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25"/>
          </p:nvPr>
        </p:nvSpPr>
        <p:spPr>
          <a:xfrm>
            <a:off x="7988300" y="2803948"/>
            <a:ext cx="2381250" cy="230832"/>
          </a:xfrm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26"/>
          </p:nvPr>
        </p:nvSpPr>
        <p:spPr>
          <a:xfrm>
            <a:off x="7988300" y="3848657"/>
            <a:ext cx="2381250" cy="230832"/>
          </a:xfrm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27"/>
          </p:nvPr>
        </p:nvSpPr>
        <p:spPr>
          <a:xfrm>
            <a:off x="7988300" y="4899719"/>
            <a:ext cx="2381250" cy="230832"/>
          </a:xfrm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28"/>
          </p:nvPr>
        </p:nvSpPr>
        <p:spPr>
          <a:xfrm>
            <a:off x="4191000" y="2489200"/>
            <a:ext cx="3403600" cy="328295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9"/>
          </p:nvPr>
        </p:nvSpPr>
        <p:spPr>
          <a:xfrm>
            <a:off x="828000" y="720000"/>
            <a:ext cx="10455275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  <a:ea typeface="Apex New Bold" panose="02010600040501010103" pitchFamily="50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1FC50843-6055-441A-BCB5-7A1D04767B4C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355352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macher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07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5600" y="0"/>
            <a:ext cx="4017600" cy="68616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1512000"/>
            <a:ext cx="6030000" cy="1302404"/>
          </a:xfrm>
        </p:spPr>
        <p:txBody>
          <a:bodyPr/>
          <a:lstStyle>
            <a:lvl1pPr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828674" y="2844000"/>
            <a:ext cx="5446800" cy="766108"/>
          </a:xfrm>
        </p:spPr>
        <p:txBody>
          <a:bodyPr/>
          <a:lstStyle>
            <a:lvl1pPr fontAlgn="auto">
              <a:spcAft>
                <a:spcPts val="0"/>
              </a:spcAft>
              <a:defRPr sz="2200">
                <a:solidFill>
                  <a:schemeClr val="bg1"/>
                </a:solidFill>
                <a:latin typeface="BundesSans Regular" panose="020B0002030500000203" pitchFamily="34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2172791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unkte - 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150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828000" y="2613024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828000" y="3657885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828000" y="4702746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9"/>
          </p:nvPr>
        </p:nvSpPr>
        <p:spPr>
          <a:xfrm>
            <a:off x="1377950" y="2802360"/>
            <a:ext cx="2381250" cy="2308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20"/>
          </p:nvPr>
        </p:nvSpPr>
        <p:spPr>
          <a:xfrm>
            <a:off x="1377950" y="3847069"/>
            <a:ext cx="2381250" cy="2308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Textplatzhalter 20"/>
          <p:cNvSpPr>
            <a:spLocks noGrp="1"/>
          </p:cNvSpPr>
          <p:nvPr>
            <p:ph type="body" sz="quarter" idx="21"/>
          </p:nvPr>
        </p:nvSpPr>
        <p:spPr>
          <a:xfrm>
            <a:off x="1377950" y="4898131"/>
            <a:ext cx="2381250" cy="23083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22"/>
          </p:nvPr>
        </p:nvSpPr>
        <p:spPr>
          <a:xfrm>
            <a:off x="10611050" y="2609848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23"/>
          </p:nvPr>
        </p:nvSpPr>
        <p:spPr>
          <a:xfrm>
            <a:off x="10611050" y="3654709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6" name="Textplatzhalter 15"/>
          <p:cNvSpPr>
            <a:spLocks noGrp="1"/>
          </p:cNvSpPr>
          <p:nvPr>
            <p:ph type="body" sz="quarter" idx="24"/>
          </p:nvPr>
        </p:nvSpPr>
        <p:spPr>
          <a:xfrm>
            <a:off x="10611050" y="4699570"/>
            <a:ext cx="825500" cy="615553"/>
          </a:xfrm>
        </p:spPr>
        <p:txBody>
          <a:bodyPr anchor="ctr"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25"/>
          </p:nvPr>
        </p:nvSpPr>
        <p:spPr>
          <a:xfrm>
            <a:off x="7988300" y="2803948"/>
            <a:ext cx="2381250" cy="230832"/>
          </a:xfrm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26"/>
          </p:nvPr>
        </p:nvSpPr>
        <p:spPr>
          <a:xfrm>
            <a:off x="7988300" y="3848657"/>
            <a:ext cx="2381250" cy="230832"/>
          </a:xfrm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27"/>
          </p:nvPr>
        </p:nvSpPr>
        <p:spPr>
          <a:xfrm>
            <a:off x="7988300" y="4899719"/>
            <a:ext cx="2381250" cy="230832"/>
          </a:xfrm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28"/>
          </p:nvPr>
        </p:nvSpPr>
        <p:spPr>
          <a:xfrm>
            <a:off x="4191000" y="2489200"/>
            <a:ext cx="3403600" cy="3282950"/>
          </a:xfr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9"/>
          </p:nvPr>
        </p:nvSpPr>
        <p:spPr>
          <a:xfrm>
            <a:off x="828000" y="720000"/>
            <a:ext cx="10455275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  <a:ea typeface="Apex New Bold" panose="02010600040501010103" pitchFamily="50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132DEB2-A102-467B-99A8-D732C784680B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4245699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rizontale Freifläche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253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750" y="5959475"/>
            <a:ext cx="1144588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1BBFB6FB-1815-4B02-A3E3-76D9F71785E3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426372621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rizontale Freifläche Logo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355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EC18B6A-D10C-4DF1-BD36-4882E754FEA6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970981691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rizontale Freifläche - 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457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45051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5177A28-CEA0-4B2E-B2DB-415ADE7CB1B3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129107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rizontale Freifläche - bla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560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73051136-B7D9-42D8-B525-32AD7972483E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2689347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vertikal -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ED493B4-6081-DE49-BFF2-E0B554335B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06925" y="2359025"/>
            <a:ext cx="2921000" cy="40068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4775994" y="2536031"/>
            <a:ext cx="2520950" cy="3619499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547467" y="3457731"/>
            <a:ext cx="2614613" cy="276999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7875902" y="3457731"/>
            <a:ext cx="2614613" cy="276999"/>
          </a:xfrm>
        </p:spPr>
        <p:txBody>
          <a:bodyPr/>
          <a:lstStyle>
            <a:lvl1pPr algn="l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C8A707C-1BA5-4DA3-BED6-BA8404E2DAB8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6086424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vertikal - blau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ED493B4-6081-DE49-BFF2-E0B554335B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06925" y="2359025"/>
            <a:ext cx="2921000" cy="40068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4775994" y="2536031"/>
            <a:ext cx="2520950" cy="3619499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547467" y="3457731"/>
            <a:ext cx="2614613" cy="276999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7875902" y="3457731"/>
            <a:ext cx="2614613" cy="276999"/>
          </a:xfrm>
        </p:spPr>
        <p:txBody>
          <a:bodyPr/>
          <a:lstStyle>
            <a:lvl1pPr algn="l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AE28608-B6DF-4F07-873C-3220651C0152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39666446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vertikal -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ED493B4-6081-DE49-BFF2-E0B554335B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06925" y="2359025"/>
            <a:ext cx="2921000" cy="40068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4776788" y="2536032"/>
            <a:ext cx="2521743" cy="3619499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547467" y="3457731"/>
            <a:ext cx="2614613" cy="276999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7875902" y="3457731"/>
            <a:ext cx="2614613" cy="276999"/>
          </a:xfrm>
        </p:spPr>
        <p:txBody>
          <a:bodyPr/>
          <a:lstStyle>
            <a:lvl1pPr algn="l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3D997EB-3A70-4588-A23D-B859F18F84D9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32685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vertikal - grün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ED493B4-6081-DE49-BFF2-E0B554335B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06925" y="2359025"/>
            <a:ext cx="2921000" cy="40068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70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4776788" y="2536032"/>
            <a:ext cx="2521743" cy="3619499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1547467" y="3457731"/>
            <a:ext cx="2614613" cy="276999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7875902" y="3457731"/>
            <a:ext cx="2614613" cy="276999"/>
          </a:xfrm>
        </p:spPr>
        <p:txBody>
          <a:bodyPr/>
          <a:lstStyle>
            <a:lvl1pPr algn="l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54640B7-1AB4-4F4A-B156-9C931E939F85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225004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horizontal -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88" y="2574925"/>
            <a:ext cx="5041900" cy="36734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072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6534150" y="2794000"/>
            <a:ext cx="4543425" cy="3165476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828675" y="2766918"/>
            <a:ext cx="4545790" cy="2693904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C79AF2C9-E6F7-4A77-9884-5BD68614B238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037654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macher mit Bild - grü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09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5600" y="0"/>
            <a:ext cx="4017600" cy="68616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828674" y="2844000"/>
            <a:ext cx="5446800" cy="766108"/>
          </a:xfrm>
        </p:spPr>
        <p:txBody>
          <a:bodyPr/>
          <a:lstStyle>
            <a:lvl1pPr fontAlgn="auto">
              <a:spcAft>
                <a:spcPts val="0"/>
              </a:spcAft>
              <a:defRPr sz="2200">
                <a:solidFill>
                  <a:schemeClr val="bg1"/>
                </a:solidFill>
                <a:latin typeface="BundesSans Regular" panose="020B0002030500000203" pitchFamily="34" charset="0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28000" y="1512000"/>
            <a:ext cx="7159625" cy="1313309"/>
          </a:xfrm>
        </p:spPr>
        <p:txBody>
          <a:bodyPr anchor="ctr"/>
          <a:lstStyle>
            <a:lvl1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>
                <a:solidFill>
                  <a:schemeClr val="tx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6242318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horizontal - blau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88" y="2574925"/>
            <a:ext cx="5041900" cy="36734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174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6534150" y="2794000"/>
            <a:ext cx="4543425" cy="3165476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828675" y="2766918"/>
            <a:ext cx="4545790" cy="2693904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E51EECF-2F3E-4B16-9E37-FB4821D20374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38724855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horizontal -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88" y="2574925"/>
            <a:ext cx="5041900" cy="36734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277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6534151" y="2790825"/>
            <a:ext cx="4546600" cy="316865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828675" y="2766918"/>
            <a:ext cx="4545790" cy="2693904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4DF5A02A-8E4D-4421-BB90-8263FC8DCB68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34539985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up horizontal - grün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9">
            <a:extLst>
              <a:ext uri="{FF2B5EF4-FFF2-40B4-BE49-F238E27FC236}">
                <a16:creationId xmlns:a16="http://schemas.microsoft.com/office/drawing/2014/main" id="{9DF67303-5434-0B4D-A8A4-C670952204C4}"/>
              </a:ext>
            </a:extLst>
          </p:cNvPr>
          <p:cNvSpPr/>
          <p:nvPr userDrawn="1"/>
        </p:nvSpPr>
        <p:spPr>
          <a:xfrm>
            <a:off x="0" y="5678488"/>
            <a:ext cx="12193588" cy="117951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88" y="2574925"/>
            <a:ext cx="5041900" cy="367347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379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0393363" y="423863"/>
            <a:ext cx="1428750" cy="663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534988"/>
            <a:ext cx="1144587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6534151" y="2790825"/>
            <a:ext cx="4546600" cy="316865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28675" y="1728000"/>
            <a:ext cx="10367963" cy="482313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828675" y="2766918"/>
            <a:ext cx="4545790" cy="2693904"/>
          </a:xfrm>
        </p:spPr>
        <p:txBody>
          <a:bodyPr/>
          <a:lstStyle>
            <a:lvl1pPr algn="r">
              <a:defRPr sz="18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37B7096-681E-4C27-A2B3-7D0EB3FFB37D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41767970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48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4"/>
          </p:nvPr>
        </p:nvSpPr>
        <p:spPr>
          <a:xfrm>
            <a:off x="6534150" y="2794000"/>
            <a:ext cx="4543425" cy="3165476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936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828675" y="2766918"/>
            <a:ext cx="4545790" cy="402291"/>
          </a:xfrm>
        </p:spPr>
        <p:txBody>
          <a:bodyPr/>
          <a:lstStyle>
            <a:lvl1pPr algn="l">
              <a:defRPr sz="200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828675" y="3346450"/>
            <a:ext cx="4545013" cy="833178"/>
          </a:xfrm>
        </p:spPr>
        <p:txBody>
          <a:bodyPr/>
          <a:lstStyle>
            <a:lvl1pPr>
              <a:defRPr sz="1200" b="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151912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mit Bild/Fläche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828675" y="5830888"/>
            <a:ext cx="973138" cy="6492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7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584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5600" y="0"/>
            <a:ext cx="4017600" cy="68616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972000"/>
            <a:ext cx="6847984" cy="1313309"/>
          </a:xfrm>
        </p:spPr>
        <p:txBody>
          <a:bodyPr anchor="ctr"/>
          <a:lstStyle>
            <a:lvl1pPr>
              <a:lnSpc>
                <a:spcPct val="90000"/>
              </a:lnSpc>
              <a:defRPr sz="4400" b="0" baseline="0">
                <a:solidFill>
                  <a:schemeClr val="tx1"/>
                </a:solidFill>
                <a:latin typeface="BundesSans Bold" panose="020B0002030500000203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828000" y="2628000"/>
            <a:ext cx="4507200" cy="401586"/>
          </a:xfrm>
        </p:spPr>
        <p:txBody>
          <a:bodyPr/>
          <a:lstStyle>
            <a:lvl1pPr marL="0" indent="0" fontAlgn="auto">
              <a:lnSpc>
                <a:spcPts val="2560"/>
              </a:lnSpc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BundesSans Regular" panose="020B0002030500000203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89399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mit Bildleis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686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06985" y="518432"/>
            <a:ext cx="4920837" cy="5821136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4D9C1EE-DBF3-1F4B-823C-755145D68C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3018686"/>
            <a:ext cx="5100348" cy="1861664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3E78DD-D1E1-A048-93F3-7B3DC93D4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936000"/>
            <a:ext cx="10402159" cy="703912"/>
          </a:xfrm>
        </p:spPr>
        <p:txBody>
          <a:bodyPr/>
          <a:lstStyle>
            <a:lvl1pPr>
              <a:lnSpc>
                <a:spcPct val="90000"/>
              </a:lnSpc>
              <a:defRPr sz="4400" b="0">
                <a:latin typeface="+mj-lt"/>
              </a:defRPr>
            </a:lvl1pPr>
          </a:lstStyle>
          <a:p>
            <a:r>
              <a:rPr lang="en-GB" dirty="0"/>
              <a:t>Click to edit Master title style</a:t>
            </a:r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6237835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halt mit Bildleis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789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56616" y="725191"/>
            <a:ext cx="5287684" cy="5569384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4D9C1EE-DBF3-1F4B-823C-755145D68C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8000" y="2628000"/>
            <a:ext cx="5100348" cy="1819981"/>
          </a:xfrm>
        </p:spPr>
        <p:txBody>
          <a:bodyPr/>
          <a:lstStyle>
            <a:lvl1pPr>
              <a:defRPr sz="1600">
                <a:solidFill>
                  <a:schemeClr val="accent5"/>
                </a:solidFill>
              </a:defRPr>
            </a:lvl1pPr>
            <a:lvl2pPr marL="239994" indent="-239994">
              <a:buClr>
                <a:schemeClr val="accent1"/>
              </a:buClr>
              <a:buFont typeface="Courier New" panose="02070309020205020404" pitchFamily="49" charset="0"/>
              <a:buChar char="o"/>
              <a:defRPr sz="1800">
                <a:solidFill>
                  <a:schemeClr val="accent5"/>
                </a:solidFill>
              </a:defRPr>
            </a:lvl2pPr>
            <a:lvl3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accent5"/>
                </a:solidFill>
              </a:defRPr>
            </a:lvl3pPr>
            <a:lvl4pPr marL="479988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accent5"/>
                </a:solidFill>
              </a:defRPr>
            </a:lvl4pPr>
            <a:lvl5pPr marL="719982" indent="-239994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828000"/>
            <a:ext cx="5287073" cy="1302404"/>
          </a:xfrm>
        </p:spPr>
        <p:txBody>
          <a:bodyPr/>
          <a:lstStyle>
            <a:lvl1pPr>
              <a:lnSpc>
                <a:spcPct val="90000"/>
              </a:lnSpc>
              <a:defRPr sz="4400" b="0"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291464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38914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642938" y="1778000"/>
            <a:ext cx="5802312" cy="676275"/>
            <a:chOff x="915" y="717"/>
            <a:chExt cx="2686" cy="313"/>
          </a:xfrm>
        </p:grpSpPr>
        <p:cxnSp>
          <p:nvCxnSpPr>
            <p:cNvPr id="5" name="AutoShape 249"/>
            <p:cNvCxnSpPr>
              <a:cxnSpLocks noChangeShapeType="1"/>
              <a:stCxn id="235" idx="4"/>
              <a:endCxn id="2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" name="AutoShape 250">
              <a:extLst>
                <a:ext uri="{FF2B5EF4-FFF2-40B4-BE49-F238E27FC236}">
                  <a16:creationId xmlns:a16="http://schemas.microsoft.com/office/drawing/2014/main" id="{67326F4F-D049-4C75-8265-333792AFF1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de-DE" sz="2133" b="1" dirty="0">
                  <a:latin typeface="+mn-lt"/>
                  <a:ea typeface="+mn-ea"/>
                </a:rPr>
                <a:t>Title</a:t>
              </a:r>
            </a:p>
            <a:p>
              <a:pPr eaLnBrk="1" hangingPunct="1">
                <a:defRPr/>
              </a:pPr>
              <a:r>
                <a:rPr lang="de-DE" sz="2133" dirty="0">
                  <a:latin typeface="+mn-lt"/>
                  <a:ea typeface="+mn-ea"/>
                </a:rPr>
                <a:t>Unit </a:t>
              </a:r>
              <a:r>
                <a:rPr lang="de-DE" sz="2133" dirty="0" err="1">
                  <a:latin typeface="+mn-lt"/>
                  <a:ea typeface="+mn-ea"/>
                </a:rPr>
                <a:t>of</a:t>
              </a:r>
              <a:r>
                <a:rPr lang="de-DE" sz="2133" dirty="0">
                  <a:latin typeface="+mn-lt"/>
                  <a:ea typeface="+mn-ea"/>
                </a:rPr>
                <a:t> </a:t>
              </a:r>
              <a:r>
                <a:rPr lang="de-DE" sz="2133" dirty="0" err="1">
                  <a:latin typeface="+mn-lt"/>
                  <a:ea typeface="+mn-ea"/>
                </a:rPr>
                <a:t>measure</a:t>
              </a:r>
              <a:endParaRPr lang="de-DE" sz="2133" dirty="0">
                <a:latin typeface="+mn-lt"/>
                <a:ea typeface="+mn-ea"/>
              </a:endParaRPr>
            </a:p>
          </p:txBody>
        </p:sp>
      </p:grpSp>
      <p:grpSp>
        <p:nvGrpSpPr>
          <p:cNvPr id="7" name="LegendBoxes" hidden="1"/>
          <p:cNvGrpSpPr>
            <a:grpSpLocks/>
          </p:cNvGrpSpPr>
          <p:nvPr/>
        </p:nvGrpSpPr>
        <p:grpSpPr bwMode="auto">
          <a:xfrm>
            <a:off x="10610850" y="941388"/>
            <a:ext cx="1138238" cy="1350962"/>
            <a:chOff x="4936" y="176"/>
            <a:chExt cx="527" cy="626"/>
          </a:xfrm>
        </p:grpSpPr>
        <p:sp>
          <p:nvSpPr>
            <p:cNvPr id="8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9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0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1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72BF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2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3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55B47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4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5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3372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</p:grpSp>
      <p:grpSp>
        <p:nvGrpSpPr>
          <p:cNvPr id="16" name="LegendLines" hidden="1"/>
          <p:cNvGrpSpPr>
            <a:grpSpLocks/>
          </p:cNvGrpSpPr>
          <p:nvPr/>
        </p:nvGrpSpPr>
        <p:grpSpPr bwMode="auto">
          <a:xfrm>
            <a:off x="10191750" y="941388"/>
            <a:ext cx="1557338" cy="989012"/>
            <a:chOff x="4750" y="176"/>
            <a:chExt cx="721" cy="458"/>
          </a:xfrm>
        </p:grpSpPr>
        <p:sp>
          <p:nvSpPr>
            <p:cNvPr id="17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21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22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</p:grpSp>
      <p:grpSp>
        <p:nvGrpSpPr>
          <p:cNvPr id="23" name="Sticker" hidden="1"/>
          <p:cNvGrpSpPr>
            <a:grpSpLocks/>
          </p:cNvGrpSpPr>
          <p:nvPr/>
        </p:nvGrpSpPr>
        <p:grpSpPr bwMode="auto">
          <a:xfrm>
            <a:off x="10983913" y="950913"/>
            <a:ext cx="765175" cy="303212"/>
            <a:chOff x="8177646" y="295110"/>
            <a:chExt cx="563129" cy="222728"/>
          </a:xfrm>
        </p:grpSpPr>
        <p:sp>
          <p:nvSpPr>
            <p:cNvPr id="24" name="StickerRectangle"/>
            <p:cNvSpPr>
              <a:spLocks noChangeArrowheads="1"/>
            </p:cNvSpPr>
            <p:nvPr/>
          </p:nvSpPr>
          <p:spPr bwMode="gray">
            <a:xfrm>
              <a:off x="8177646" y="295110"/>
              <a:ext cx="563129" cy="2227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STICKER</a:t>
              </a:r>
            </a:p>
          </p:txBody>
        </p:sp>
        <p:cxnSp>
          <p:nvCxnSpPr>
            <p:cNvPr id="25" name="AutoShape 32"/>
            <p:cNvCxnSpPr>
              <a:cxnSpLocks noChangeShapeType="1"/>
              <a:stCxn id="38959" idx="4"/>
              <a:endCxn id="38959" idx="6"/>
            </p:cNvCxnSpPr>
            <p:nvPr/>
          </p:nvCxnSpPr>
          <p:spPr bwMode="gray">
            <a:xfrm>
              <a:off x="8177646" y="517838"/>
              <a:ext cx="56312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AutoShape 32"/>
            <p:cNvCxnSpPr>
              <a:cxnSpLocks noChangeShapeType="1"/>
              <a:stCxn id="38959" idx="2"/>
              <a:endCxn id="38959" idx="0"/>
            </p:cNvCxnSpPr>
            <p:nvPr userDrawn="1"/>
          </p:nvCxnSpPr>
          <p:spPr bwMode="gray">
            <a:xfrm>
              <a:off x="8177646" y="295110"/>
              <a:ext cx="56312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7" name="LegendMoons" hidden="1"/>
          <p:cNvGrpSpPr>
            <a:grpSpLocks/>
          </p:cNvGrpSpPr>
          <p:nvPr/>
        </p:nvGrpSpPr>
        <p:grpSpPr bwMode="auto">
          <a:xfrm>
            <a:off x="10504488" y="941388"/>
            <a:ext cx="1244600" cy="1776412"/>
            <a:chOff x="7769225" y="2105025"/>
            <a:chExt cx="915390" cy="1306516"/>
          </a:xfrm>
        </p:grpSpPr>
        <p:grpSp>
          <p:nvGrpSpPr>
            <p:cNvPr id="28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46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7" name="Arc 39">
                <a:extLst>
                  <a:ext uri="{FF2B5EF4-FFF2-40B4-BE49-F238E27FC236}">
                    <a16:creationId xmlns:a16="http://schemas.microsoft.com/office/drawing/2014/main" id="{2EF6E64B-E9EB-494C-83FB-007E7FB142AA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29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44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5" name="Arc 42">
                <a:extLst>
                  <a:ext uri="{FF2B5EF4-FFF2-40B4-BE49-F238E27FC236}">
                    <a16:creationId xmlns:a16="http://schemas.microsoft.com/office/drawing/2014/main" id="{4F3D0221-B283-4579-B397-F5330A0014C2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0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42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3" name="Arc 48">
                <a:extLst>
                  <a:ext uri="{FF2B5EF4-FFF2-40B4-BE49-F238E27FC236}">
                    <a16:creationId xmlns:a16="http://schemas.microsoft.com/office/drawing/2014/main" id="{A2A90D3D-76A7-49E1-B27E-ABC461AF523A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31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0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41" name="Oval 51">
                <a:extLst>
                  <a:ext uri="{FF2B5EF4-FFF2-40B4-BE49-F238E27FC236}">
                    <a16:creationId xmlns:a16="http://schemas.microsoft.com/office/drawing/2014/main" id="{E8759416-6C68-42C6-8D9F-1C892B3645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32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36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grpSp>
          <p:nvGrpSpPr>
            <p:cNvPr id="3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3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39" name="Arc 48">
                <a:extLst>
                  <a:ext uri="{FF2B5EF4-FFF2-40B4-BE49-F238E27FC236}">
                    <a16:creationId xmlns:a16="http://schemas.microsoft.com/office/drawing/2014/main" id="{E4E23CA7-BF4B-4C0F-BC49-209BD8CC9824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48" name="3. Unit of measure" hidden="1">
            <a:extLst>
              <a:ext uri="{FF2B5EF4-FFF2-40B4-BE49-F238E27FC236}">
                <a16:creationId xmlns:a16="http://schemas.microsoft.com/office/drawing/2014/main" id="{C1C5E9FC-6DFB-4661-BBC8-BFE79A2A891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42938" y="941388"/>
            <a:ext cx="11106150" cy="32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tabLst>
                <a:tab pos="596885" algn="l"/>
              </a:tabLst>
              <a:defRPr/>
            </a:pPr>
            <a:r>
              <a:rPr lang="de-DE" sz="2133">
                <a:latin typeface="+mn-lt"/>
                <a:ea typeface="+mn-ea"/>
              </a:rPr>
              <a:t>Subtitle</a:t>
            </a:r>
            <a:endParaRPr lang="de-DE" sz="2133" dirty="0">
              <a:latin typeface="+mn-lt"/>
              <a:ea typeface="+mn-ea"/>
            </a:endParaRPr>
          </a:p>
        </p:txBody>
      </p:sp>
      <p:sp>
        <p:nvSpPr>
          <p:cNvPr id="49" name="1. On-page tracker" hidden="1">
            <a:extLst>
              <a:ext uri="{FF2B5EF4-FFF2-40B4-BE49-F238E27FC236}">
                <a16:creationId xmlns:a16="http://schemas.microsoft.com/office/drawing/2014/main" id="{F2397FCC-58BD-48D6-B195-C27C77AD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938" y="53975"/>
            <a:ext cx="8366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>
              <a:tabLst>
                <a:tab pos="596885" algn="l"/>
              </a:tabLst>
              <a:defRPr/>
            </a:pPr>
            <a:r>
              <a:rPr lang="de-DE" sz="1600" cap="all" dirty="0" err="1">
                <a:latin typeface="+mn-lt"/>
                <a:ea typeface="+mj-ea"/>
              </a:rPr>
              <a:t>TRACKER</a:t>
            </a:r>
            <a:endParaRPr lang="de-DE" sz="1600" cap="all" dirty="0">
              <a:latin typeface="+mn-lt"/>
              <a:ea typeface="+mj-ea"/>
            </a:endParaRPr>
          </a:p>
        </p:txBody>
      </p:sp>
      <p:grpSp>
        <p:nvGrpSpPr>
          <p:cNvPr id="50" name="Moon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1403013" y="3889375"/>
            <a:ext cx="346075" cy="344488"/>
            <a:chOff x="762000" y="1270000"/>
            <a:chExt cx="254000" cy="254000"/>
          </a:xfrm>
        </p:grpSpPr>
        <p:sp>
          <p:nvSpPr>
            <p:cNvPr id="51" name="Oval 286">
              <a:extLst>
                <a:ext uri="{FF2B5EF4-FFF2-40B4-BE49-F238E27FC236}">
                  <a16:creationId xmlns:a16="http://schemas.microsoft.com/office/drawing/2014/main" id="{225CDC12-613F-4CBC-BA3D-52A937C7198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52" name="Arc 287">
              <a:extLst>
                <a:ext uri="{FF2B5EF4-FFF2-40B4-BE49-F238E27FC236}">
                  <a16:creationId xmlns:a16="http://schemas.microsoft.com/office/drawing/2014/main" id="{0CD8258A-FCA7-4622-8D5B-8324DA89B6E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337299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00" dirty="0"/>
            </a:p>
          </p:txBody>
        </p:sp>
      </p:grpSp>
      <p:sp>
        <p:nvSpPr>
          <p:cNvPr id="53" name="Oval" hidden="1">
            <a:extLst>
              <a:ext uri="{FF2B5EF4-FFF2-40B4-BE49-F238E27FC236}">
                <a16:creationId xmlns:a16="http://schemas.microsoft.com/office/drawing/2014/main" id="{AAEEEC64-41F4-49EB-BDB4-5F1FABDE832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689850" y="1244600"/>
            <a:ext cx="1754188" cy="1754188"/>
          </a:xfrm>
          <a:prstGeom prst="ellipse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8000" tIns="48000" rIns="48000" bIns="48000" anchor="ctr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54" name="Rectangle" hidden="1">
            <a:extLst>
              <a:ext uri="{FF2B5EF4-FFF2-40B4-BE49-F238E27FC236}">
                <a16:creationId xmlns:a16="http://schemas.microsoft.com/office/drawing/2014/main" id="{2D6C430B-CBFD-49DE-8C43-0F367B2184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870325" y="1244600"/>
            <a:ext cx="1754188" cy="175418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96000" rIns="96000" bIns="96000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55" name="RoundedRectangle" hidden="1">
            <a:extLst>
              <a:ext uri="{FF2B5EF4-FFF2-40B4-BE49-F238E27FC236}">
                <a16:creationId xmlns:a16="http://schemas.microsoft.com/office/drawing/2014/main" id="{74017F43-6896-4287-B25A-3224B3092F0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780088" y="1244600"/>
            <a:ext cx="1754187" cy="1754188"/>
          </a:xfrm>
          <a:prstGeom prst="round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96000" rIns="96000" bIns="96000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56" name="Arrow" hidden="1">
            <a:extLst>
              <a:ext uri="{FF2B5EF4-FFF2-40B4-BE49-F238E27FC236}">
                <a16:creationId xmlns:a16="http://schemas.microsoft.com/office/drawing/2014/main" id="{1661818F-9796-4568-A871-51F991C8038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868738" y="4370388"/>
            <a:ext cx="2103437" cy="1052512"/>
          </a:xfrm>
          <a:prstGeom prst="rightArrow">
            <a:avLst>
              <a:gd name="adj1" fmla="val 54000"/>
              <a:gd name="adj2" fmla="val 37678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0" rIns="0" bIns="0" anchor="ctr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57" name="DirArrow" hidden="1">
            <a:extLst>
              <a:ext uri="{FF2B5EF4-FFF2-40B4-BE49-F238E27FC236}">
                <a16:creationId xmlns:a16="http://schemas.microsoft.com/office/drawing/2014/main" id="{158966D4-0635-4754-AC79-5C17C8C1D032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5400000">
            <a:off x="8019257" y="2824956"/>
            <a:ext cx="3556000" cy="395287"/>
          </a:xfrm>
          <a:prstGeom prst="triangle">
            <a:avLst>
              <a:gd name="adj" fmla="val 50000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de-DE" sz="2133" dirty="0">
              <a:latin typeface="+mn-lt"/>
              <a:ea typeface="+mn-ea"/>
              <a:sym typeface="+mn-lt"/>
            </a:endParaRPr>
          </a:p>
        </p:txBody>
      </p:sp>
      <p:sp>
        <p:nvSpPr>
          <p:cNvPr id="58" name="Bracket" hidden="1">
            <a:extLst>
              <a:ext uri="{FF2B5EF4-FFF2-40B4-BE49-F238E27FC236}">
                <a16:creationId xmlns:a16="http://schemas.microsoft.com/office/drawing/2014/main" id="{5FCCB044-E9BF-430D-A825-D3CC24041CA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485188" y="3159125"/>
            <a:ext cx="254000" cy="210343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868"/>
              <a:gd name="connsiteY0" fmla="*/ 0 h 3282"/>
              <a:gd name="connsiteX1" fmla="*/ 3818 w 3868"/>
              <a:gd name="connsiteY1" fmla="*/ 213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79 w 3868"/>
              <a:gd name="connsiteY2" fmla="*/ 537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3818 w 3818"/>
              <a:gd name="connsiteY4" fmla="*/ 2754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79 w 3818"/>
              <a:gd name="connsiteY4" fmla="*/ 615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753"/>
              <a:gd name="connsiteY0" fmla="*/ 0 h 3282"/>
              <a:gd name="connsiteX1" fmla="*/ 79 w 3753"/>
              <a:gd name="connsiteY1" fmla="*/ 0 h 3282"/>
              <a:gd name="connsiteX2" fmla="*/ 79 w 3753"/>
              <a:gd name="connsiteY2" fmla="*/ 537 h 3282"/>
              <a:gd name="connsiteX3" fmla="*/ 118 w 3753"/>
              <a:gd name="connsiteY3" fmla="*/ 576 h 3282"/>
              <a:gd name="connsiteX4" fmla="*/ 79 w 3753"/>
              <a:gd name="connsiteY4" fmla="*/ 615 h 3282"/>
              <a:gd name="connsiteX5" fmla="*/ 79 w 3753"/>
              <a:gd name="connsiteY5" fmla="*/ 1152 h 3282"/>
              <a:gd name="connsiteX6" fmla="*/ 3753 w 3753"/>
              <a:gd name="connsiteY6" fmla="*/ 3282 h 3282"/>
              <a:gd name="connsiteX0" fmla="*/ 0 w 118"/>
              <a:gd name="connsiteY0" fmla="*/ 0 h 1152"/>
              <a:gd name="connsiteX1" fmla="*/ 79 w 118"/>
              <a:gd name="connsiteY1" fmla="*/ 0 h 1152"/>
              <a:gd name="connsiteX2" fmla="*/ 79 w 118"/>
              <a:gd name="connsiteY2" fmla="*/ 537 h 1152"/>
              <a:gd name="connsiteX3" fmla="*/ 118 w 118"/>
              <a:gd name="connsiteY3" fmla="*/ 576 h 1152"/>
              <a:gd name="connsiteX4" fmla="*/ 79 w 118"/>
              <a:gd name="connsiteY4" fmla="*/ 615 h 1152"/>
              <a:gd name="connsiteX5" fmla="*/ 79 w 118"/>
              <a:gd name="connsiteY5" fmla="*/ 1152 h 1152"/>
              <a:gd name="connsiteX6" fmla="*/ 0 w 118"/>
              <a:gd name="connsiteY6" fmla="*/ 1152 h 1152"/>
              <a:gd name="connsiteX0" fmla="*/ 0 w 4763"/>
              <a:gd name="connsiteY0" fmla="*/ 0 h 2881"/>
              <a:gd name="connsiteX1" fmla="*/ 4724 w 4763"/>
              <a:gd name="connsiteY1" fmla="*/ 1729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93 w 4763"/>
              <a:gd name="connsiteY2" fmla="*/ 529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4724 w 4724"/>
              <a:gd name="connsiteY4" fmla="*/ 2344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93 w 4724"/>
              <a:gd name="connsiteY4" fmla="*/ 622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  <a:gd name="connsiteX0" fmla="*/ 0 w 4784"/>
              <a:gd name="connsiteY0" fmla="*/ 0 h 2881"/>
              <a:gd name="connsiteX1" fmla="*/ 4738 w 4784"/>
              <a:gd name="connsiteY1" fmla="*/ 1729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93 w 4784"/>
              <a:gd name="connsiteY2" fmla="*/ 529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4738 w 4738"/>
              <a:gd name="connsiteY4" fmla="*/ 2351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93 w 4738"/>
              <a:gd name="connsiteY4" fmla="*/ 622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9" h="1152">
                <a:moveTo>
                  <a:pt x="0" y="0"/>
                </a:moveTo>
                <a:lnTo>
                  <a:pt x="93" y="0"/>
                </a:lnTo>
                <a:lnTo>
                  <a:pt x="93" y="529"/>
                </a:lnTo>
                <a:lnTo>
                  <a:pt x="139" y="576"/>
                </a:lnTo>
                <a:lnTo>
                  <a:pt x="93" y="622"/>
                </a:lnTo>
                <a:lnTo>
                  <a:pt x="93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de-DE" sz="2133" dirty="0">
              <a:latin typeface="+mn-lt"/>
              <a:ea typeface="+mn-ea"/>
              <a:sym typeface="+mn-lt"/>
            </a:endParaRPr>
          </a:p>
        </p:txBody>
      </p:sp>
      <p:grpSp>
        <p:nvGrpSpPr>
          <p:cNvPr id="59" name="Flow" hidden="1">
            <a:extLst>
              <a:ext uri="{FF2B5EF4-FFF2-40B4-BE49-F238E27FC236}">
                <a16:creationId xmlns:a16="http://schemas.microsoft.com/office/drawing/2014/main" id="{15CD1487-2678-44E2-B5CC-49CEB35C48CB}"/>
              </a:ext>
            </a:extLst>
          </p:cNvPr>
          <p:cNvGrpSpPr>
            <a:grpSpLocks/>
          </p:cNvGrpSpPr>
          <p:nvPr>
            <p:custDataLst>
              <p:tags r:id="rId9"/>
            </p:custDataLst>
          </p:nvPr>
        </p:nvGrpSpPr>
        <p:grpSpPr bwMode="gray">
          <a:xfrm>
            <a:off x="3870786" y="3158730"/>
            <a:ext cx="2104535" cy="1052068"/>
            <a:chOff x="5905500" y="3124200"/>
            <a:chExt cx="1828800" cy="914400"/>
          </a:xfrm>
          <a:solidFill>
            <a:srgbClr val="DCB45A"/>
          </a:solidFill>
        </p:grpSpPr>
        <p:sp>
          <p:nvSpPr>
            <p:cNvPr id="60" name="Freeform 85">
              <a:extLst>
                <a:ext uri="{FF2B5EF4-FFF2-40B4-BE49-F238E27FC236}">
                  <a16:creationId xmlns:a16="http://schemas.microsoft.com/office/drawing/2014/main" id="{6EF94FCB-53EA-4797-A26F-EBE1A10BEA94}"/>
                </a:ext>
              </a:extLst>
            </p:cNvPr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61" name="TextBox 290">
              <a:extLst>
                <a:ext uri="{FF2B5EF4-FFF2-40B4-BE49-F238E27FC236}">
                  <a16:creationId xmlns:a16="http://schemas.microsoft.com/office/drawing/2014/main" id="{D66916BC-2C12-4199-9019-E1682114580E}"/>
                </a:ext>
              </a:extLst>
            </p:cNvPr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</p:grpSp>
      <p:grpSp>
        <p:nvGrpSpPr>
          <p:cNvPr id="62" name="SplitFlow" hidden="1">
            <a:extLst>
              <a:ext uri="{FF2B5EF4-FFF2-40B4-BE49-F238E27FC236}">
                <a16:creationId xmlns:a16="http://schemas.microsoft.com/office/drawing/2014/main" id="{73A0864C-2FD8-4FCE-ACEB-DEE00BA7CF76}"/>
              </a:ext>
            </a:extLst>
          </p:cNvPr>
          <p:cNvGrpSpPr/>
          <p:nvPr>
            <p:custDataLst>
              <p:tags r:id="rId10"/>
            </p:custDataLst>
          </p:nvPr>
        </p:nvGrpSpPr>
        <p:grpSpPr bwMode="gray">
          <a:xfrm>
            <a:off x="6177881" y="3158730"/>
            <a:ext cx="2104535" cy="1052068"/>
            <a:chOff x="114300" y="1270000"/>
            <a:chExt cx="1828800" cy="914400"/>
          </a:xfrm>
          <a:solidFill>
            <a:srgbClr val="DCB45A"/>
          </a:solidFill>
        </p:grpSpPr>
        <p:sp>
          <p:nvSpPr>
            <p:cNvPr id="63" name="Freeform 88">
              <a:extLst>
                <a:ext uri="{FF2B5EF4-FFF2-40B4-BE49-F238E27FC236}">
                  <a16:creationId xmlns:a16="http://schemas.microsoft.com/office/drawing/2014/main" id="{7F450F19-2202-46C9-B60D-9542379B2702}"/>
                </a:ext>
              </a:extLst>
            </p:cNvPr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64" name="TextBox 293">
              <a:extLst>
                <a:ext uri="{FF2B5EF4-FFF2-40B4-BE49-F238E27FC236}">
                  <a16:creationId xmlns:a16="http://schemas.microsoft.com/office/drawing/2014/main" id="{15247FC2-B846-48EF-B0A5-0E1AC51708E7}"/>
                </a:ext>
              </a:extLst>
            </p:cNvPr>
            <p:cNvSpPr txBox="1"/>
            <p:nvPr/>
          </p:nvSpPr>
          <p:spPr bwMode="gray">
            <a:xfrm>
              <a:off x="177800" y="1327150"/>
              <a:ext cx="1524000" cy="336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  <p:sp>
          <p:nvSpPr>
            <p:cNvPr id="65" name="Freeform 90">
              <a:extLst>
                <a:ext uri="{FF2B5EF4-FFF2-40B4-BE49-F238E27FC236}">
                  <a16:creationId xmlns:a16="http://schemas.microsoft.com/office/drawing/2014/main" id="{6901536F-391C-4721-9A47-FA9FDF2C8987}"/>
                </a:ext>
              </a:extLst>
            </p:cNvPr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66" name="TextBox 295">
              <a:extLst>
                <a:ext uri="{FF2B5EF4-FFF2-40B4-BE49-F238E27FC236}">
                  <a16:creationId xmlns:a16="http://schemas.microsoft.com/office/drawing/2014/main" id="{29AF8259-FE75-48B0-8B41-F897677AFE7C}"/>
                </a:ext>
              </a:extLst>
            </p:cNvPr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</p:grpSp>
      <p:sp>
        <p:nvSpPr>
          <p:cNvPr id="67" name="4. Footnote" hidden="1">
            <a:extLst>
              <a:ext uri="{FF2B5EF4-FFF2-40B4-BE49-F238E27FC236}">
                <a16:creationId xmlns:a16="http://schemas.microsoft.com/office/drawing/2014/main" id="{62A356C6-7F50-4D97-A742-34F98DCA18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19275" y="6224588"/>
            <a:ext cx="9337675" cy="16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6782" indent="-86782" eaLnBrk="1" hangingPunct="1">
              <a:defRPr/>
            </a:pPr>
            <a:r>
              <a:rPr lang="de-DE" sz="1067" dirty="0">
                <a:latin typeface="+mn-lt"/>
                <a:ea typeface="+mn-ea"/>
              </a:rPr>
              <a:t>1 Fußnote</a:t>
            </a:r>
          </a:p>
        </p:txBody>
      </p:sp>
      <p:sp>
        <p:nvSpPr>
          <p:cNvPr id="68" name="5. Source" hidden="1">
            <a:extLst>
              <a:ext uri="{FF2B5EF4-FFF2-40B4-BE49-F238E27FC236}">
                <a16:creationId xmlns:a16="http://schemas.microsoft.com/office/drawing/2014/main" id="{344D905E-19C6-4CC0-B71D-D835FCD0B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19275" y="6430963"/>
            <a:ext cx="933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353475" indent="-353475" defTabSz="1193770" eaLnBrk="1" hangingPunct="1">
              <a:defRPr/>
            </a:pPr>
            <a:r>
              <a:rPr lang="de-DE" sz="1067" dirty="0">
                <a:solidFill>
                  <a:srgbClr val="000000"/>
                </a:solidFill>
                <a:latin typeface="+mn-lt"/>
                <a:ea typeface="+mn-ea"/>
              </a:rPr>
              <a:t>Quelle: Quelle</a:t>
            </a: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F0072255-5BB5-B54C-9E36-28BB27031309}"/>
              </a:ext>
            </a:extLst>
          </p:cNvPr>
          <p:cNvSpPr/>
          <p:nvPr userDrawn="1"/>
        </p:nvSpPr>
        <p:spPr>
          <a:xfrm>
            <a:off x="-727075" y="896938"/>
            <a:ext cx="285750" cy="10604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0" name="Rechteck 69"/>
          <p:cNvSpPr/>
          <p:nvPr userDrawn="1"/>
        </p:nvSpPr>
        <p:spPr>
          <a:xfrm>
            <a:off x="828675" y="5830888"/>
            <a:ext cx="973138" cy="6492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628D13-92CA-5D42-9A40-613286736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936000"/>
            <a:ext cx="10402159" cy="703912"/>
          </a:xfrm>
        </p:spPr>
        <p:txBody>
          <a:bodyPr/>
          <a:lstStyle>
            <a:lvl1pPr>
              <a:lnSpc>
                <a:spcPct val="90000"/>
              </a:lnSpc>
              <a:defRPr sz="4400" b="0"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858029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92" imgH="591" progId="TCLayout.ActiveDocument.1">
                  <p:embed/>
                </p:oleObj>
              </mc:Choice>
              <mc:Fallback>
                <p:oleObj name="think-cell Foli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4400" b="0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72" y="6338968"/>
            <a:ext cx="972806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de-DE" sz="1400" dirty="0"/>
            </a:lvl1pPr>
          </a:lstStyle>
          <a:p>
            <a:pPr lvl="0">
              <a:buNone/>
            </a:pPr>
            <a:r>
              <a:rPr lang="de-DE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2013" y="5921360"/>
            <a:ext cx="972806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de-DE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2013" y="3972585"/>
            <a:ext cx="9728062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DE" sz="4400" b="0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E69EEC1B-AA67-49EF-B26D-3FF69F451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-2823"/>
            <a:ext cx="12195175" cy="3666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5019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13" imgH="416" progId="TCLayout.ActiveDocument.1">
                  <p:embed/>
                </p:oleObj>
              </mc:Choice>
              <mc:Fallback>
                <p:oleObj name="think-cell Foli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9" y="172212"/>
            <a:ext cx="11083971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809" y="884725"/>
            <a:ext cx="110839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03749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macher mit Bild - 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2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5600" y="0"/>
            <a:ext cx="4017600" cy="68616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28000" y="1512000"/>
            <a:ext cx="7159625" cy="1313309"/>
          </a:xfrm>
        </p:spPr>
        <p:txBody>
          <a:bodyPr anchor="ctr"/>
          <a:lstStyle>
            <a:lvl1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>
                <a:solidFill>
                  <a:schemeClr val="tx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828000" y="2844000"/>
            <a:ext cx="5516563" cy="771623"/>
          </a:xfrm>
          <a:noFill/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277921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1706563"/>
            <a:ext cx="3813545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074BE649-34CC-4C2A-951B-0C560B26C9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32762349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3236641"/>
            <a:ext cx="506643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720E0F3-4EB1-440A-8A58-F2FD9340AC8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14811205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9" y="4580468"/>
            <a:ext cx="11083971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6EE7C4D-72A8-4703-BD1E-070BEA70604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18722909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908" y="3530068"/>
            <a:ext cx="9181772" cy="54938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de-DE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908" y="4284631"/>
            <a:ext cx="918177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34E2986F-162A-4999-B320-6FB7EC6C49A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15416775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4205" y="0"/>
            <a:ext cx="8779383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2744370"/>
            <a:ext cx="2514928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3659644"/>
            <a:ext cx="251492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8" y="41598"/>
            <a:ext cx="251492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8D103B9-F1CA-4808-83D6-410BE6A6F84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AF41A717-3C16-491E-B1DC-434DE1F252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58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5305" y="0"/>
            <a:ext cx="7828283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2744370"/>
            <a:ext cx="3466027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3659645"/>
            <a:ext cx="346602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8" y="41598"/>
            <a:ext cx="346602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91BF20BA-53CA-47CF-AE8E-30BD1FDBD68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58ACA58F-65DC-4A0E-B108-4DCBB3392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4124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3746" y="0"/>
            <a:ext cx="6099842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519012"/>
            <a:ext cx="506643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884725"/>
            <a:ext cx="506643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ECE969-7D73-4BC2-BED9-E6696CE9A19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D1213D65-1FA2-47C7-8758-CDA39E7A3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1432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72" imgH="588" progId="TCLayout.ActiveDocument.1">
                  <p:embed/>
                </p:oleObj>
              </mc:Choice>
              <mc:Fallback>
                <p:oleObj name="think-cell Foli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519012"/>
            <a:ext cx="696863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1332" y="0"/>
            <a:ext cx="4362256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884725"/>
            <a:ext cx="696863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CB27F7F-44E3-4C2B-A9EF-67977844C1A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4F3AD31F-010C-4676-A6E8-74993DF7F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1763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2560" y="0"/>
            <a:ext cx="3411028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519012"/>
            <a:ext cx="7919735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884725"/>
            <a:ext cx="791973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A5890893-6423-4F52-81A7-146F352E50E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4E2C00E9-2BA7-4AAC-A805-B541B78F5C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7647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809" y="779962"/>
            <a:ext cx="11083971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4E9DF08-129C-4C3D-BD34-12AEF4703B1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21181828-1AEA-421E-949D-AEBEB2885D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684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macher mit Bild - Weiß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14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5600" y="0"/>
            <a:ext cx="4017600" cy="68616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28000" y="1512000"/>
            <a:ext cx="7159625" cy="1313309"/>
          </a:xfrm>
        </p:spPr>
        <p:txBody>
          <a:bodyPr anchor="ctr"/>
          <a:lstStyle>
            <a:lvl1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>
                <a:solidFill>
                  <a:schemeClr val="tx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828000" y="2844000"/>
            <a:ext cx="5516563" cy="771623"/>
          </a:xfrm>
          <a:noFill/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510377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D79DA402-AE51-43E9-9598-0363370E98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F733FC9A-39AF-4A8B-AD28-09C70F260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115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>
            <a:extLst>
              <a:ext uri="{FF2B5EF4-FFF2-40B4-BE49-F238E27FC236}">
                <a16:creationId xmlns:a16="http://schemas.microsoft.com/office/drawing/2014/main" id="{685233E2-2D08-40EF-A19C-B68417175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2369271" y="1373874"/>
            <a:ext cx="7455048" cy="4110252"/>
          </a:xfrm>
          <a:prstGeom prst="rect">
            <a:avLst/>
          </a:prstGeom>
        </p:spPr>
      </p:pic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C778C3EF-E930-483B-9604-EF2F60AD08EE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17441681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CBAF06-0E9C-46E8-AF3B-C2BE2E5D36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2"/>
            <a:ext cx="211695" cy="211667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erif Office" panose="02050002050300000203" pitchFamily="18" charset="0"/>
              <a:ea typeface="ＭＳ Ｐゴシック" panose="020B0600070205080204" pitchFamily="34" charset="-128"/>
              <a:cs typeface="+mn-cs"/>
              <a:sym typeface="BundesSerif Office" panose="02050002050300000203" pitchFamily="18" charset="0"/>
            </a:endParaRP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FFAB708A-F6AD-45E6-A489-D852CFC13A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649901" y="381046"/>
            <a:ext cx="11106182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596856" algn="l"/>
              </a:tabLst>
              <a:defRPr>
                <a:ea typeface="+mj-ea"/>
              </a:defRPr>
            </a:lvl1pPr>
          </a:lstStyle>
          <a:p>
            <a:pPr lvl="0"/>
            <a:r>
              <a:rPr lang="de-DE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59284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/>
          <a:lstStyle/>
          <a:p>
            <a:fld id="{2C32D470-AE32-4F88-864F-09039230ABDB}" type="slidenum">
              <a:rPr lang="de-DE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3653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1706563"/>
            <a:ext cx="3813545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de-DE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AD8E545-B932-4A03-AA45-6F81DB05338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1081320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92" imgH="591" progId="TCLayout.ActiveDocument.1">
                  <p:embed/>
                </p:oleObj>
              </mc:Choice>
              <mc:Fallback>
                <p:oleObj name="think-cell Foli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4400" b="0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72" y="6338968"/>
            <a:ext cx="972806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de-DE" sz="1400" dirty="0"/>
            </a:lvl1pPr>
          </a:lstStyle>
          <a:p>
            <a:pPr lvl="0">
              <a:buNone/>
            </a:pPr>
            <a:r>
              <a:rPr lang="de-DE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2013" y="5921360"/>
            <a:ext cx="972806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de-DE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2013" y="3972585"/>
            <a:ext cx="9728062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de-DE" sz="4400" b="0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E69EEC1B-AA67-49EF-B26D-3FF69F451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-2823"/>
            <a:ext cx="12195175" cy="3666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9855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413" imgH="416" progId="TCLayout.ActiveDocument.1">
                  <p:embed/>
                </p:oleObj>
              </mc:Choice>
              <mc:Fallback>
                <p:oleObj name="think-cell Foli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9" y="172212"/>
            <a:ext cx="11083971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809" y="884725"/>
            <a:ext cx="110839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de-DE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de-DE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540211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1706563"/>
            <a:ext cx="3813545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074BE649-34CC-4C2A-951B-0C560B26C9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40238845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3236641"/>
            <a:ext cx="506643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720E0F3-4EB1-440A-8A58-F2FD9340AC8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31132671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9" y="4580468"/>
            <a:ext cx="11083971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6EE7C4D-72A8-4703-BD1E-070BEA70604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3205348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17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graphicFrame>
        <p:nvGraphicFramePr>
          <p:cNvPr id="7" name="Tabelle 9">
            <a:extLst>
              <a:ext uri="{FF2B5EF4-FFF2-40B4-BE49-F238E27FC236}">
                <a16:creationId xmlns:a16="http://schemas.microsoft.com/office/drawing/2014/main" id="{F971BCDF-709C-C14C-BD1E-E59C1C904E3E}"/>
              </a:ext>
            </a:extLst>
          </p:cNvPr>
          <p:cNvGraphicFramePr>
            <a:graphicFrameLocks noGrp="1"/>
          </p:cNvGraphicFramePr>
          <p:nvPr/>
        </p:nvGraphicFramePr>
        <p:xfrm>
          <a:off x="1490663" y="1647825"/>
          <a:ext cx="5041900" cy="3932236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704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93">
                  <a:extLst>
                    <a:ext uri="{9D8B030D-6E8A-4147-A177-3AD203B41FA5}">
                      <a16:colId xmlns:a16="http://schemas.microsoft.com/office/drawing/2014/main" val="2504753937"/>
                    </a:ext>
                  </a:extLst>
                </a:gridCol>
                <a:gridCol w="42042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n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endParaRPr lang="de-DE" sz="1300" b="0" kern="1200" dirty="0">
                        <a:solidFill>
                          <a:schemeClr val="accent5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endParaRPr lang="de-DE" sz="1300" dirty="0">
                        <a:solidFill>
                          <a:schemeClr val="accent5"/>
                        </a:solidFill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3871206671"/>
                  </a:ext>
                </a:extLst>
              </a:tr>
              <a:tr h="511175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marL="0" marR="0" lvl="0" indent="0" algn="l" defTabSz="617325" rtl="0" eaLnBrk="1" fontAlgn="auto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300" b="0" i="1" kern="1200" dirty="0">
                        <a:solidFill>
                          <a:schemeClr val="accent5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endParaRPr lang="de-DE" sz="1300" b="0" dirty="0">
                        <a:solidFill>
                          <a:schemeClr val="accent5"/>
                        </a:solidFill>
                        <a:effectLst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endParaRPr lang="de-DE" sz="1300" b="0" kern="120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n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548319740"/>
                  </a:ext>
                </a:extLst>
              </a:tr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endParaRPr lang="de-DE" sz="1300" b="0" kern="120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n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8723"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j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de-DE" sz="1300" b="0" dirty="0">
                        <a:solidFill>
                          <a:schemeClr val="accent5"/>
                        </a:solidFill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+mn-lt"/>
                        <a:ea typeface="FagoOfficeSans-Regular"/>
                        <a:cs typeface="FagoOfficeSans-Regular"/>
                      </a:endParaRPr>
                    </a:p>
                  </a:txBody>
                  <a:tcPr marL="50800" marR="50800" marT="50788" marB="50788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Tabellenplatzhalter 4"/>
          <p:cNvSpPr>
            <a:spLocks noGrp="1"/>
          </p:cNvSpPr>
          <p:nvPr>
            <p:ph type="tbl" sz="quarter" idx="13"/>
          </p:nvPr>
        </p:nvSpPr>
        <p:spPr>
          <a:xfrm>
            <a:off x="5957092" y="1647173"/>
            <a:ext cx="5239545" cy="431236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828675" y="720000"/>
            <a:ext cx="10367963" cy="70391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4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BAEDF43-2398-449B-8DD8-9A8C42D9FAE7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24236898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592" imgH="591" progId="TCLayout.ActiveDocument.1">
                  <p:embed/>
                </p:oleObj>
              </mc:Choice>
              <mc:Fallback>
                <p:oleObj name="think-cell Foli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908" y="3530068"/>
            <a:ext cx="9181772" cy="54938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de-DE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908" y="4284631"/>
            <a:ext cx="918177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34E2986F-162A-4999-B320-6FB7EC6C49A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249032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4205" y="0"/>
            <a:ext cx="8779383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2744370"/>
            <a:ext cx="2514928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3659644"/>
            <a:ext cx="251492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8" y="41598"/>
            <a:ext cx="251492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8D103B9-F1CA-4808-83D6-410BE6A6F84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AF41A717-3C16-491E-B1DC-434DE1F252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3897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5305" y="0"/>
            <a:ext cx="7828283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2744370"/>
            <a:ext cx="3466027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3659645"/>
            <a:ext cx="346602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8" y="41598"/>
            <a:ext cx="346602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91BF20BA-53CA-47CF-AE8E-30BD1FDBD68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58ACA58F-65DC-4A0E-B108-4DCBB3392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9692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3746" y="0"/>
            <a:ext cx="6099842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519012"/>
            <a:ext cx="506643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884725"/>
            <a:ext cx="506643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AECE969-7D73-4BC2-BED9-E6696CE9A19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D1213D65-1FA2-47C7-8758-CDA39E7A30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5702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72" imgH="588" progId="TCLayout.ActiveDocument.1">
                  <p:embed/>
                </p:oleObj>
              </mc:Choice>
              <mc:Fallback>
                <p:oleObj name="think-cell Foli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519012"/>
            <a:ext cx="696863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1332" y="0"/>
            <a:ext cx="4362256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884725"/>
            <a:ext cx="696863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CB27F7F-44E3-4C2B-A9EF-67977844C1A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4F3AD31F-010C-4676-A6E8-74993DF7FF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2820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13" imgH="416" progId="TCLayout.ActiveDocument.1">
                  <p:embed/>
                </p:oleObj>
              </mc:Choice>
              <mc:Fallback>
                <p:oleObj name="think-cell Foli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2560" y="0"/>
            <a:ext cx="3411028" cy="6858000"/>
          </a:xfrm>
          <a:prstGeom prst="rect">
            <a:avLst/>
          </a:prstGeom>
          <a:solidFill>
            <a:srgbClr val="6CB89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de-DE" sz="2100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808" y="519012"/>
            <a:ext cx="7919735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808" y="884725"/>
            <a:ext cx="791973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A5890893-6423-4F52-81A7-146F352E50E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4E2C00E9-2BA7-4AAC-A805-B541B78F5C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064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809" y="779962"/>
            <a:ext cx="11083971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4E9DF08-129C-4C3D-BD34-12AEF4703B1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1" name="Picture 8">
            <a:extLst>
              <a:ext uri="{FF2B5EF4-FFF2-40B4-BE49-F238E27FC236}">
                <a16:creationId xmlns:a16="http://schemas.microsoft.com/office/drawing/2014/main" id="{21181828-1AEA-421E-949D-AEBEB2885D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4078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D79DA402-AE51-43E9-9598-0363370E98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F733FC9A-39AF-4A8B-AD28-09C70F260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554809" y="6424362"/>
            <a:ext cx="743718" cy="41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4498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>
            <a:extLst>
              <a:ext uri="{FF2B5EF4-FFF2-40B4-BE49-F238E27FC236}">
                <a16:creationId xmlns:a16="http://schemas.microsoft.com/office/drawing/2014/main" id="{685233E2-2D08-40EF-A19C-B684171759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r="35167"/>
          <a:stretch/>
        </p:blipFill>
        <p:spPr>
          <a:xfrm>
            <a:off x="2369271" y="1373874"/>
            <a:ext cx="7455048" cy="4110252"/>
          </a:xfrm>
          <a:prstGeom prst="rect">
            <a:avLst/>
          </a:prstGeom>
        </p:spPr>
      </p:pic>
      <p:sp>
        <p:nvSpPr>
          <p:cNvPr id="5" name="5. Source" hidden="1">
            <a:extLst>
              <a:ext uri="{FF2B5EF4-FFF2-40B4-BE49-F238E27FC236}">
                <a16:creationId xmlns:a16="http://schemas.microsoft.com/office/drawing/2014/main" id="{C778C3EF-E930-483B-9604-EF2F60AD08EE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405816688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CBAF06-0E9C-46E8-AF3B-C2BE2E5D36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2"/>
            <a:ext cx="211695" cy="211667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undesSerif Office" panose="02050002050300000203" pitchFamily="18" charset="0"/>
              <a:ea typeface="ＭＳ Ｐゴシック" panose="020B0600070205080204" pitchFamily="34" charset="-128"/>
              <a:cs typeface="+mn-cs"/>
              <a:sym typeface="BundesSerif Office" panose="02050002050300000203" pitchFamily="18" charset="0"/>
            </a:endParaRP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FFAB708A-F6AD-45E6-A489-D852CFC13A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649901" y="381046"/>
            <a:ext cx="11106182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596856" algn="l"/>
              </a:tabLst>
              <a:defRPr>
                <a:ea typeface="+mj-ea"/>
              </a:defRPr>
            </a:lvl1pPr>
          </a:lstStyle>
          <a:p>
            <a:pPr lvl="0"/>
            <a:r>
              <a:rPr lang="de-DE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1116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mit Bild/Fläche -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19F53BBD-34DD-BA4A-B867-151CFF5327A0}"/>
              </a:ext>
            </a:extLst>
          </p:cNvPr>
          <p:cNvSpPr/>
          <p:nvPr userDrawn="1"/>
        </p:nvSpPr>
        <p:spPr>
          <a:xfrm>
            <a:off x="8137525" y="0"/>
            <a:ext cx="405606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aa-ET" sz="2176" dirty="0"/>
          </a:p>
        </p:txBody>
      </p:sp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195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400" y="507600"/>
            <a:ext cx="4690800" cy="58428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999" y="972000"/>
            <a:ext cx="5435951" cy="1313309"/>
          </a:xfrm>
        </p:spPr>
        <p:txBody>
          <a:bodyPr/>
          <a:lstStyle>
            <a:lvl1pPr>
              <a:lnSpc>
                <a:spcPct val="90000"/>
              </a:lnSpc>
              <a:defRPr sz="4400" b="0" i="0" baseline="0">
                <a:solidFill>
                  <a:schemeClr val="tx1"/>
                </a:solidFill>
                <a:latin typeface="BundesSans Bold" panose="020B0002030500000203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28675" y="2628000"/>
            <a:ext cx="4522788" cy="37224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76A1AE1-CF0F-4E31-9D8A-A75C04B43F1D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4902979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199" y="1122363"/>
            <a:ext cx="91451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199" y="3602038"/>
            <a:ext cx="9145191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38309" y="6356351"/>
            <a:ext cx="2743557" cy="365125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9126" y="6356351"/>
            <a:ext cx="4115336" cy="365125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11722" y="6356351"/>
            <a:ext cx="2743557" cy="365125"/>
          </a:xfrm>
          <a:prstGeom prst="rect">
            <a:avLst/>
          </a:prstGeom>
        </p:spPr>
        <p:txBody>
          <a:bodyPr/>
          <a:lstStyle/>
          <a:p>
            <a:fld id="{2C32D470-AE32-4F88-864F-09039230ABDB}" type="slidenum">
              <a:rPr lang="de-DE">
                <a:solidFill>
                  <a:srgbClr val="000000"/>
                </a:solidFill>
              </a:rPr>
              <a:pPr/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6182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1" progId="TCLayout.ActiveDocument.1">
                  <p:embed/>
                </p:oleObj>
              </mc:Choice>
              <mc:Fallback>
                <p:oleObj name="think-cell Foli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808" y="1706563"/>
            <a:ext cx="3813545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de-DE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3999" y="6498755"/>
            <a:ext cx="32554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de-DE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de-DE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807" y="41598"/>
            <a:ext cx="38438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de-DE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AD8E545-B932-4A03-AA45-6F81DB05338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500383" y="6498755"/>
            <a:ext cx="6333233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800" dirty="0"/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486753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Logo mit Bild/Fläche -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19F53BBD-34DD-BA4A-B867-151CFF5327A0}"/>
              </a:ext>
            </a:extLst>
          </p:cNvPr>
          <p:cNvSpPr/>
          <p:nvPr userDrawn="1"/>
        </p:nvSpPr>
        <p:spPr>
          <a:xfrm>
            <a:off x="8137525" y="0"/>
            <a:ext cx="405606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aa-ET" sz="2176" dirty="0"/>
          </a:p>
        </p:txBody>
      </p:sp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9219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400" y="507600"/>
            <a:ext cx="4690800" cy="58428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999" y="972000"/>
            <a:ext cx="5435951" cy="1313309"/>
          </a:xfrm>
        </p:spPr>
        <p:txBody>
          <a:bodyPr/>
          <a:lstStyle>
            <a:lvl1pPr>
              <a:lnSpc>
                <a:spcPct val="90000"/>
              </a:lnSpc>
              <a:defRPr sz="4400" b="0" i="0" baseline="0">
                <a:solidFill>
                  <a:schemeClr val="tx1"/>
                </a:solidFill>
                <a:latin typeface="BundesSans Bold" panose="020B0002030500000203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28675" y="2628000"/>
            <a:ext cx="4522788" cy="3331542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7BDFD56-F34C-4AA5-9B63-85BB15F8B288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4136084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mit Bild/Fläche -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19F53BBD-34DD-BA4A-B867-151CFF5327A0}"/>
              </a:ext>
            </a:extLst>
          </p:cNvPr>
          <p:cNvSpPr/>
          <p:nvPr userDrawn="1"/>
        </p:nvSpPr>
        <p:spPr>
          <a:xfrm>
            <a:off x="8137525" y="0"/>
            <a:ext cx="405606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aa-ET" sz="2176" dirty="0"/>
          </a:p>
        </p:txBody>
      </p:sp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024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 hidden="1">
            <a:extLst>
              <a:ext uri="{FF2B5EF4-FFF2-40B4-BE49-F238E27FC236}">
                <a16:creationId xmlns:a16="http://schemas.microsoft.com/office/drawing/2014/main" id="{6C66519F-5613-4854-AF23-A1766DAF88F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138" cy="21113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de-DE" sz="3200" dirty="0" err="1">
              <a:solidFill>
                <a:schemeClr val="tx1"/>
              </a:solidFill>
              <a:latin typeface="BundesSerif Office" panose="02050002050300000203" pitchFamily="18" charset="-18"/>
              <a:cs typeface="+mj-cs"/>
              <a:sym typeface="BundesSerif Office" panose="02050002050300000203" pitchFamily="18" charset="-18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F39F208-894E-C748-8FD0-23EDDC19C1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400" y="507600"/>
            <a:ext cx="4690800" cy="5842800"/>
          </a:xfrm>
          <a:effectLst/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A1A7AD-0633-664F-898B-19E0E4BEA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999" y="972000"/>
            <a:ext cx="5435951" cy="1313309"/>
          </a:xfrm>
        </p:spPr>
        <p:txBody>
          <a:bodyPr/>
          <a:lstStyle>
            <a:lvl1pPr>
              <a:lnSpc>
                <a:spcPct val="90000"/>
              </a:lnSpc>
              <a:defRPr sz="4400" b="0" i="0" baseline="0">
                <a:solidFill>
                  <a:schemeClr val="tx1"/>
                </a:solidFill>
                <a:latin typeface="BundesSans Bold" panose="020B0002030500000203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828675" y="2627312"/>
            <a:ext cx="4516438" cy="372308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9CAAD85-6D29-6E44-A335-1D62DDDE4D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lvl1pPr algn="r" eaLnBrk="1" hangingPunct="1">
              <a:defRPr sz="800" smtClean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CE4D1D22-F316-436E-B56D-8EA3AE5D13CE}" type="slidenum">
              <a:rPr lang="aa-ET"/>
              <a:pPr>
                <a:defRPr/>
              </a:pPr>
              <a:t>‹Nr.›</a:t>
            </a:fld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574837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5.xml"/><Relationship Id="rId47" Type="http://schemas.openxmlformats.org/officeDocument/2006/relationships/tags" Target="../tags/tag10.xml"/><Relationship Id="rId50" Type="http://schemas.openxmlformats.org/officeDocument/2006/relationships/tags" Target="../tags/tag13.xml"/><Relationship Id="rId55" Type="http://schemas.openxmlformats.org/officeDocument/2006/relationships/tags" Target="../tags/tag18.xml"/><Relationship Id="rId63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3.xml"/><Relationship Id="rId45" Type="http://schemas.openxmlformats.org/officeDocument/2006/relationships/tags" Target="../tags/tag8.xml"/><Relationship Id="rId53" Type="http://schemas.openxmlformats.org/officeDocument/2006/relationships/tags" Target="../tags/tag16.xml"/><Relationship Id="rId58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4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6.xml"/><Relationship Id="rId48" Type="http://schemas.openxmlformats.org/officeDocument/2006/relationships/tags" Target="../tags/tag11.xml"/><Relationship Id="rId56" Type="http://schemas.openxmlformats.org/officeDocument/2006/relationships/tags" Target="../tags/tag19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46" Type="http://schemas.openxmlformats.org/officeDocument/2006/relationships/tags" Target="../tags/tag9.xml"/><Relationship Id="rId59" Type="http://schemas.openxmlformats.org/officeDocument/2006/relationships/tags" Target="../tags/tag2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4.xml"/><Relationship Id="rId54" Type="http://schemas.openxmlformats.org/officeDocument/2006/relationships/tags" Target="../tags/tag17.xml"/><Relationship Id="rId62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12.xml"/><Relationship Id="rId57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7.xml"/><Relationship Id="rId52" Type="http://schemas.openxmlformats.org/officeDocument/2006/relationships/tags" Target="../tags/tag15.xml"/><Relationship Id="rId60" Type="http://schemas.openxmlformats.org/officeDocument/2006/relationships/tags" Target="../tags/tag23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2.xml"/><Relationship Id="rId26" Type="http://schemas.openxmlformats.org/officeDocument/2006/relationships/tags" Target="../tags/tag156.xml"/><Relationship Id="rId39" Type="http://schemas.openxmlformats.org/officeDocument/2006/relationships/oleObject" Target="../embeddings/oleObject40.bin"/><Relationship Id="rId21" Type="http://schemas.openxmlformats.org/officeDocument/2006/relationships/tags" Target="../tags/tag151.xml"/><Relationship Id="rId34" Type="http://schemas.openxmlformats.org/officeDocument/2006/relationships/tags" Target="../tags/tag164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ags" Target="../tags/tag155.xml"/><Relationship Id="rId33" Type="http://schemas.openxmlformats.org/officeDocument/2006/relationships/tags" Target="../tags/tag163.xml"/><Relationship Id="rId38" Type="http://schemas.openxmlformats.org/officeDocument/2006/relationships/tags" Target="../tags/tag168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tags" Target="../tags/tag150.xml"/><Relationship Id="rId29" Type="http://schemas.openxmlformats.org/officeDocument/2006/relationships/tags" Target="../tags/tag15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ags" Target="../tags/tag154.xml"/><Relationship Id="rId32" Type="http://schemas.openxmlformats.org/officeDocument/2006/relationships/tags" Target="../tags/tag162.xml"/><Relationship Id="rId37" Type="http://schemas.openxmlformats.org/officeDocument/2006/relationships/tags" Target="../tags/tag167.xml"/><Relationship Id="rId40" Type="http://schemas.openxmlformats.org/officeDocument/2006/relationships/image" Target="../media/image7.emf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tags" Target="../tags/tag166.xml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tags" Target="../tags/tag165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theme" Target="../theme/theme3.xml"/><Relationship Id="rId26" Type="http://schemas.openxmlformats.org/officeDocument/2006/relationships/tags" Target="../tags/tag273.xml"/><Relationship Id="rId39" Type="http://schemas.openxmlformats.org/officeDocument/2006/relationships/oleObject" Target="../embeddings/oleObject57.bin"/><Relationship Id="rId21" Type="http://schemas.openxmlformats.org/officeDocument/2006/relationships/tags" Target="../tags/tag268.xml"/><Relationship Id="rId34" Type="http://schemas.openxmlformats.org/officeDocument/2006/relationships/tags" Target="../tags/tag281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tags" Target="../tags/tag272.xml"/><Relationship Id="rId33" Type="http://schemas.openxmlformats.org/officeDocument/2006/relationships/tags" Target="../tags/tag280.xml"/><Relationship Id="rId38" Type="http://schemas.openxmlformats.org/officeDocument/2006/relationships/tags" Target="../tags/tag285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tags" Target="../tags/tag267.xml"/><Relationship Id="rId29" Type="http://schemas.openxmlformats.org/officeDocument/2006/relationships/tags" Target="../tags/tag27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tags" Target="../tags/tag271.xml"/><Relationship Id="rId32" Type="http://schemas.openxmlformats.org/officeDocument/2006/relationships/tags" Target="../tags/tag279.xml"/><Relationship Id="rId37" Type="http://schemas.openxmlformats.org/officeDocument/2006/relationships/tags" Target="../tags/tag284.xml"/><Relationship Id="rId40" Type="http://schemas.openxmlformats.org/officeDocument/2006/relationships/image" Target="../media/image7.emf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tags" Target="../tags/tag270.xml"/><Relationship Id="rId28" Type="http://schemas.openxmlformats.org/officeDocument/2006/relationships/tags" Target="../tags/tag275.xml"/><Relationship Id="rId36" Type="http://schemas.openxmlformats.org/officeDocument/2006/relationships/tags" Target="../tags/tag283.xml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266.xml"/><Relationship Id="rId31" Type="http://schemas.openxmlformats.org/officeDocument/2006/relationships/tags" Target="../tags/tag278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tags" Target="../tags/tag269.xml"/><Relationship Id="rId27" Type="http://schemas.openxmlformats.org/officeDocument/2006/relationships/tags" Target="../tags/tag274.xml"/><Relationship Id="rId30" Type="http://schemas.openxmlformats.org/officeDocument/2006/relationships/tags" Target="../tags/tag277.xml"/><Relationship Id="rId35" Type="http://schemas.openxmlformats.org/officeDocument/2006/relationships/tags" Target="../tags/tag282.xml"/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/>
          </p:cNvGraphicFramePr>
          <p:nvPr>
            <p:custDataLst>
              <p:tags r:id="rId39"/>
            </p:custDataLst>
          </p:nvPr>
        </p:nvGraphicFramePr>
        <p:xfrm>
          <a:off x="0" y="0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4" imgW="360" imgH="360" progId="TCLayout.ActiveDocument.1">
                  <p:embed/>
                </p:oleObj>
              </mc:Choice>
              <mc:Fallback>
                <p:oleObj name="think-cell Folie" r:id="rId6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28675" y="936625"/>
            <a:ext cx="10401300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er auch mehrzeilig sein</a:t>
            </a:r>
            <a:br>
              <a:rPr lang="de-DE" altLang="de-DE"/>
            </a:br>
            <a:r>
              <a:rPr lang="de-DE" altLang="de-DE"/>
              <a:t>kann und wird</a:t>
            </a:r>
          </a:p>
        </p:txBody>
      </p:sp>
      <p:sp>
        <p:nvSpPr>
          <p:cNvPr id="1028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828675" y="2627313"/>
            <a:ext cx="10918825" cy="185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grpSp>
        <p:nvGrpSpPr>
          <p:cNvPr id="1029" name="ACET" hidden="1"/>
          <p:cNvGrpSpPr>
            <a:grpSpLocks/>
          </p:cNvGrpSpPr>
          <p:nvPr/>
        </p:nvGrpSpPr>
        <p:grpSpPr bwMode="auto">
          <a:xfrm>
            <a:off x="642938" y="1778000"/>
            <a:ext cx="5802312" cy="676275"/>
            <a:chOff x="915" y="717"/>
            <a:chExt cx="2686" cy="313"/>
          </a:xfrm>
        </p:grpSpPr>
        <p:cxnSp>
          <p:nvCxnSpPr>
            <p:cNvPr id="1087" name="AutoShape 249"/>
            <p:cNvCxnSpPr>
              <a:cxnSpLocks noChangeShapeType="1"/>
              <a:stCxn id="235" idx="4"/>
              <a:endCxn id="2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5" name="AutoShape 250">
              <a:extLst>
                <a:ext uri="{FF2B5EF4-FFF2-40B4-BE49-F238E27FC236}">
                  <a16:creationId xmlns:a16="http://schemas.microsoft.com/office/drawing/2014/main" id="{67326F4F-D049-4C75-8265-333792AFF1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>
                <a:defRPr/>
              </a:pPr>
              <a:r>
                <a:rPr lang="de-DE" sz="2133" b="1" dirty="0">
                  <a:latin typeface="+mn-lt"/>
                  <a:ea typeface="+mn-ea"/>
                </a:rPr>
                <a:t>Title</a:t>
              </a:r>
            </a:p>
            <a:p>
              <a:pPr eaLnBrk="1" hangingPunct="1">
                <a:defRPr/>
              </a:pPr>
              <a:r>
                <a:rPr lang="de-DE" sz="2133" dirty="0">
                  <a:latin typeface="+mn-lt"/>
                  <a:ea typeface="+mn-ea"/>
                </a:rPr>
                <a:t>Unit </a:t>
              </a:r>
              <a:r>
                <a:rPr lang="de-DE" sz="2133" dirty="0" err="1">
                  <a:latin typeface="+mn-lt"/>
                  <a:ea typeface="+mn-ea"/>
                </a:rPr>
                <a:t>of</a:t>
              </a:r>
              <a:r>
                <a:rPr lang="de-DE" sz="2133" dirty="0">
                  <a:latin typeface="+mn-lt"/>
                  <a:ea typeface="+mn-ea"/>
                </a:rPr>
                <a:t> </a:t>
              </a:r>
              <a:r>
                <a:rPr lang="de-DE" sz="2133" dirty="0" err="1">
                  <a:latin typeface="+mn-lt"/>
                  <a:ea typeface="+mn-ea"/>
                </a:rPr>
                <a:t>measure</a:t>
              </a:r>
              <a:endParaRPr lang="de-DE" sz="2133" dirty="0">
                <a:latin typeface="+mn-lt"/>
                <a:ea typeface="+mn-ea"/>
              </a:endParaRPr>
            </a:p>
          </p:txBody>
        </p:sp>
      </p:grpSp>
      <p:grpSp>
        <p:nvGrpSpPr>
          <p:cNvPr id="1030" name="LegendBoxes" hidden="1"/>
          <p:cNvGrpSpPr>
            <a:grpSpLocks/>
          </p:cNvGrpSpPr>
          <p:nvPr/>
        </p:nvGrpSpPr>
        <p:grpSpPr bwMode="auto">
          <a:xfrm>
            <a:off x="10610850" y="941388"/>
            <a:ext cx="1138238" cy="1350962"/>
            <a:chOff x="4936" y="176"/>
            <a:chExt cx="527" cy="626"/>
          </a:xfrm>
        </p:grpSpPr>
        <p:sp>
          <p:nvSpPr>
            <p:cNvPr id="1079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80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081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82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72BF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083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84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55B47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  <p:sp>
          <p:nvSpPr>
            <p:cNvPr id="1085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86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3372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altLang="de-DE" sz="1600">
                <a:latin typeface="BundesSans Regular" panose="020B0002030500000203" pitchFamily="34" charset="0"/>
              </a:endParaRPr>
            </a:p>
          </p:txBody>
        </p:sp>
      </p:grpSp>
      <p:grpSp>
        <p:nvGrpSpPr>
          <p:cNvPr id="1031" name="LegendLines" hidden="1"/>
          <p:cNvGrpSpPr>
            <a:grpSpLocks/>
          </p:cNvGrpSpPr>
          <p:nvPr/>
        </p:nvGrpSpPr>
        <p:grpSpPr bwMode="auto">
          <a:xfrm>
            <a:off x="10191750" y="941388"/>
            <a:ext cx="1557338" cy="989012"/>
            <a:chOff x="4750" y="176"/>
            <a:chExt cx="721" cy="458"/>
          </a:xfrm>
        </p:grpSpPr>
        <p:sp>
          <p:nvSpPr>
            <p:cNvPr id="107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7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7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07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7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7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</p:grpSp>
      <p:grpSp>
        <p:nvGrpSpPr>
          <p:cNvPr id="1032" name="Sticker" hidden="1"/>
          <p:cNvGrpSpPr>
            <a:grpSpLocks/>
          </p:cNvGrpSpPr>
          <p:nvPr/>
        </p:nvGrpSpPr>
        <p:grpSpPr bwMode="auto">
          <a:xfrm>
            <a:off x="10983913" y="950913"/>
            <a:ext cx="765175" cy="303212"/>
            <a:chOff x="8177646" y="295110"/>
            <a:chExt cx="563129" cy="222728"/>
          </a:xfrm>
        </p:grpSpPr>
        <p:sp>
          <p:nvSpPr>
            <p:cNvPr id="1070" name="StickerRectangle"/>
            <p:cNvSpPr>
              <a:spLocks noChangeArrowheads="1"/>
            </p:cNvSpPr>
            <p:nvPr/>
          </p:nvSpPr>
          <p:spPr bwMode="gray">
            <a:xfrm>
              <a:off x="8177646" y="295110"/>
              <a:ext cx="563129" cy="2227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STICKER</a:t>
              </a:r>
            </a:p>
          </p:txBody>
        </p:sp>
        <p:cxnSp>
          <p:nvCxnSpPr>
            <p:cNvPr id="1071" name="AutoShape 32"/>
            <p:cNvCxnSpPr>
              <a:cxnSpLocks noChangeShapeType="1"/>
              <a:stCxn id="1070" idx="4"/>
              <a:endCxn id="1070" idx="6"/>
            </p:cNvCxnSpPr>
            <p:nvPr/>
          </p:nvCxnSpPr>
          <p:spPr bwMode="gray">
            <a:xfrm>
              <a:off x="8177646" y="517838"/>
              <a:ext cx="56312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2" name="AutoShape 32"/>
            <p:cNvCxnSpPr>
              <a:cxnSpLocks noChangeShapeType="1"/>
              <a:stCxn id="1070" idx="2"/>
              <a:endCxn id="1070" idx="0"/>
            </p:cNvCxnSpPr>
            <p:nvPr userDrawn="1"/>
          </p:nvCxnSpPr>
          <p:spPr bwMode="gray">
            <a:xfrm>
              <a:off x="8177646" y="295110"/>
              <a:ext cx="563129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3" name="LegendMoons" hidden="1"/>
          <p:cNvGrpSpPr>
            <a:grpSpLocks/>
          </p:cNvGrpSpPr>
          <p:nvPr/>
        </p:nvGrpSpPr>
        <p:grpSpPr bwMode="auto">
          <a:xfrm>
            <a:off x="10504488" y="941388"/>
            <a:ext cx="1244600" cy="1776412"/>
            <a:chOff x="7769225" y="2105025"/>
            <a:chExt cx="915390" cy="1306516"/>
          </a:xfrm>
        </p:grpSpPr>
        <p:grpSp>
          <p:nvGrpSpPr>
            <p:cNvPr id="1050" name="MoonLegend1"/>
            <p:cNvGrpSpPr>
              <a:grpSpLocks noChangeAspect="1"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68" name="Oval 38"/>
              <p:cNvSpPr>
                <a:spLocks noChangeAspect="1" noChangeArrowheads="1"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276" name="Arc 39">
                <a:extLst>
                  <a:ext uri="{FF2B5EF4-FFF2-40B4-BE49-F238E27FC236}">
                    <a16:creationId xmlns:a16="http://schemas.microsoft.com/office/drawing/2014/main" id="{2EF6E64B-E9EB-494C-83FB-007E7FB142AA}"/>
                  </a:ext>
                </a:extLst>
              </p:cNvPr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051" name="MoonLegend2"/>
            <p:cNvGrpSpPr>
              <a:grpSpLocks noChangeAspect="1"/>
            </p:cNvGrpSpPr>
            <p:nvPr>
              <p:custDataLst>
                <p:tags r:id="rId5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66" name="Oval 41"/>
              <p:cNvSpPr>
                <a:spLocks noChangeAspect="1" noChangeArrowheads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274" name="Arc 42">
                <a:extLst>
                  <a:ext uri="{FF2B5EF4-FFF2-40B4-BE49-F238E27FC236}">
                    <a16:creationId xmlns:a16="http://schemas.microsoft.com/office/drawing/2014/main" id="{4F3D0221-B283-4579-B397-F5330A0014C2}"/>
                  </a:ext>
                </a:extLst>
              </p:cNvPr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052" name="MoonLegend4"/>
            <p:cNvGrpSpPr>
              <a:grpSpLocks noChangeAspect="1"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064" name="Oval 47"/>
              <p:cNvSpPr>
                <a:spLocks noChangeAspect="1" noChangeArrowheads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272" name="Arc 48">
                <a:extLst>
                  <a:ext uri="{FF2B5EF4-FFF2-40B4-BE49-F238E27FC236}">
                    <a16:creationId xmlns:a16="http://schemas.microsoft.com/office/drawing/2014/main" id="{A2A90D3D-76A7-49E1-B27E-ABC461AF523A}"/>
                  </a:ext>
                </a:extLst>
              </p:cNvPr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053" name="MoonLegend5"/>
            <p:cNvGrpSpPr>
              <a:grpSpLocks noChangeAspect="1"/>
            </p:cNvGrpSpPr>
            <p:nvPr>
              <p:custDataLst>
                <p:tags r:id="rId5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062" name="Oval 50"/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270" name="Oval 51">
                <a:extLst>
                  <a:ext uri="{FF2B5EF4-FFF2-40B4-BE49-F238E27FC236}">
                    <a16:creationId xmlns:a16="http://schemas.microsoft.com/office/drawing/2014/main" id="{E8759416-6C68-42C6-8D9F-1C892B3645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054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55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56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57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sp>
          <p:nvSpPr>
            <p:cNvPr id="1058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1192213"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11922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</a:pPr>
              <a:r>
                <a:rPr lang="de-DE" altLang="de-DE" sz="1600">
                  <a:latin typeface="BundesSans Regular" panose="020B0002030500000203" pitchFamily="34" charset="0"/>
                </a:rPr>
                <a:t>Legende</a:t>
              </a:r>
            </a:p>
          </p:txBody>
        </p:sp>
        <p:grpSp>
          <p:nvGrpSpPr>
            <p:cNvPr id="1059" name="MoonLegend3"/>
            <p:cNvGrpSpPr>
              <a:grpSpLocks noChangeAspect="1"/>
            </p:cNvGrpSpPr>
            <p:nvPr>
              <p:custDataLst>
                <p:tags r:id="rId5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060" name="Oval 47"/>
              <p:cNvSpPr>
                <a:spLocks noChangeAspect="1" noChangeArrowheads="1"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lvl1pPr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de-DE" altLang="de-DE" sz="1600">
                  <a:latin typeface="BundesSans Regular" panose="020B0002030500000203" pitchFamily="34" charset="0"/>
                </a:endParaRPr>
              </a:p>
            </p:txBody>
          </p:sp>
          <p:sp>
            <p:nvSpPr>
              <p:cNvPr id="268" name="Arc 48">
                <a:extLst>
                  <a:ext uri="{FF2B5EF4-FFF2-40B4-BE49-F238E27FC236}">
                    <a16:creationId xmlns:a16="http://schemas.microsoft.com/office/drawing/2014/main" id="{E4E23CA7-BF4B-4C0F-BC49-209BD8CC9824}"/>
                  </a:ext>
                </a:extLst>
              </p:cNvPr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eaLnBrk="1" hangingPunct="1">
                  <a:defRPr/>
                </a:pPr>
                <a:endParaRPr lang="de-DE" sz="1600" dirty="0">
                  <a:latin typeface="+mn-lt"/>
                  <a:ea typeface="+mn-ea"/>
                </a:endParaRPr>
              </a:p>
            </p:txBody>
          </p:sp>
        </p:grpSp>
      </p:grpSp>
      <p:sp>
        <p:nvSpPr>
          <p:cNvPr id="278" name="3. Unit of measure" hidden="1">
            <a:extLst>
              <a:ext uri="{FF2B5EF4-FFF2-40B4-BE49-F238E27FC236}">
                <a16:creationId xmlns:a16="http://schemas.microsoft.com/office/drawing/2014/main" id="{C1C5E9FC-6DFB-4661-BBC8-BFE79A2A891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42938" y="941388"/>
            <a:ext cx="11106150" cy="328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tabLst>
                <a:tab pos="596885" algn="l"/>
              </a:tabLst>
              <a:defRPr/>
            </a:pPr>
            <a:r>
              <a:rPr lang="de-DE" sz="2133">
                <a:latin typeface="+mn-lt"/>
                <a:ea typeface="+mn-ea"/>
              </a:rPr>
              <a:t>Subtitle</a:t>
            </a:r>
            <a:endParaRPr lang="de-DE" sz="2133" dirty="0">
              <a:latin typeface="+mn-lt"/>
              <a:ea typeface="+mn-ea"/>
            </a:endParaRPr>
          </a:p>
        </p:txBody>
      </p:sp>
      <p:sp>
        <p:nvSpPr>
          <p:cNvPr id="279" name="1. On-page tracker" hidden="1">
            <a:extLst>
              <a:ext uri="{FF2B5EF4-FFF2-40B4-BE49-F238E27FC236}">
                <a16:creationId xmlns:a16="http://schemas.microsoft.com/office/drawing/2014/main" id="{F2397FCC-58BD-48D6-B195-C27C77AD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938" y="53975"/>
            <a:ext cx="836612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>
              <a:tabLst>
                <a:tab pos="596885" algn="l"/>
              </a:tabLst>
              <a:defRPr/>
            </a:pPr>
            <a:r>
              <a:rPr lang="de-DE" sz="1600" cap="all" dirty="0" err="1">
                <a:latin typeface="+mn-lt"/>
                <a:ea typeface="+mj-ea"/>
              </a:rPr>
              <a:t>TRACKER</a:t>
            </a:r>
            <a:endParaRPr lang="de-DE" sz="1600" cap="all" dirty="0">
              <a:latin typeface="+mn-lt"/>
              <a:ea typeface="+mj-ea"/>
            </a:endParaRPr>
          </a:p>
        </p:txBody>
      </p:sp>
      <p:grpSp>
        <p:nvGrpSpPr>
          <p:cNvPr id="1036" name="Moon" hidden="1"/>
          <p:cNvGrpSpPr>
            <a:grpSpLocks/>
          </p:cNvGrpSpPr>
          <p:nvPr>
            <p:custDataLst>
              <p:tags r:id="rId40"/>
            </p:custDataLst>
          </p:nvPr>
        </p:nvGrpSpPr>
        <p:grpSpPr bwMode="auto">
          <a:xfrm>
            <a:off x="11403013" y="3889375"/>
            <a:ext cx="346075" cy="344488"/>
            <a:chOff x="762000" y="1270000"/>
            <a:chExt cx="254000" cy="25400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225CDC12-613F-4CBC-BA3D-52A937C7198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88" name="Arc 287">
              <a:extLst>
                <a:ext uri="{FF2B5EF4-FFF2-40B4-BE49-F238E27FC236}">
                  <a16:creationId xmlns:a16="http://schemas.microsoft.com/office/drawing/2014/main" id="{0CD8258A-FCA7-4622-8D5B-8324DA89B6E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337299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00" dirty="0"/>
            </a:p>
          </p:txBody>
        </p:sp>
      </p:grpSp>
      <p:sp>
        <p:nvSpPr>
          <p:cNvPr id="280" name="Oval" hidden="1">
            <a:extLst>
              <a:ext uri="{FF2B5EF4-FFF2-40B4-BE49-F238E27FC236}">
                <a16:creationId xmlns:a16="http://schemas.microsoft.com/office/drawing/2014/main" id="{AAEEEC64-41F4-49EB-BDB4-5F1FABDE832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689850" y="1244600"/>
            <a:ext cx="1754188" cy="1754188"/>
          </a:xfrm>
          <a:prstGeom prst="ellipse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48000" tIns="48000" rIns="48000" bIns="48000" anchor="ctr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algn="ctr"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281" name="Rectangle" hidden="1">
            <a:extLst>
              <a:ext uri="{FF2B5EF4-FFF2-40B4-BE49-F238E27FC236}">
                <a16:creationId xmlns:a16="http://schemas.microsoft.com/office/drawing/2014/main" id="{2D6C430B-CBFD-49DE-8C43-0F367B21845D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3870325" y="1244600"/>
            <a:ext cx="1754188" cy="175418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96000" rIns="96000" bIns="96000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282" name="RoundedRectangle" hidden="1">
            <a:extLst>
              <a:ext uri="{FF2B5EF4-FFF2-40B4-BE49-F238E27FC236}">
                <a16:creationId xmlns:a16="http://schemas.microsoft.com/office/drawing/2014/main" id="{74017F43-6896-4287-B25A-3224B3092F01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780088" y="1244600"/>
            <a:ext cx="1754187" cy="1754188"/>
          </a:xfrm>
          <a:prstGeom prst="round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96000" rIns="96000" bIns="96000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283" name="Arrow" hidden="1">
            <a:extLst>
              <a:ext uri="{FF2B5EF4-FFF2-40B4-BE49-F238E27FC236}">
                <a16:creationId xmlns:a16="http://schemas.microsoft.com/office/drawing/2014/main" id="{1661818F-9796-4568-A871-51F991C8038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3868738" y="4370388"/>
            <a:ext cx="2103437" cy="1052512"/>
          </a:xfrm>
          <a:prstGeom prst="rightArrow">
            <a:avLst>
              <a:gd name="adj1" fmla="val 54000"/>
              <a:gd name="adj2" fmla="val 37678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6000" tIns="0" rIns="0" bIns="0" anchor="ctr"/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>
              <a:defRPr/>
            </a:pPr>
            <a:r>
              <a:rPr lang="de-DE" sz="2133" dirty="0">
                <a:ea typeface="+mn-ea"/>
              </a:rPr>
              <a:t>Text</a:t>
            </a:r>
          </a:p>
        </p:txBody>
      </p:sp>
      <p:sp>
        <p:nvSpPr>
          <p:cNvPr id="284" name="DirArrow" hidden="1">
            <a:extLst>
              <a:ext uri="{FF2B5EF4-FFF2-40B4-BE49-F238E27FC236}">
                <a16:creationId xmlns:a16="http://schemas.microsoft.com/office/drawing/2014/main" id="{158966D4-0635-4754-AC79-5C17C8C1D032}"/>
              </a:ext>
            </a:extLst>
          </p:cNvPr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 rot="5400000">
            <a:off x="8019257" y="2824956"/>
            <a:ext cx="3556000" cy="395287"/>
          </a:xfrm>
          <a:prstGeom prst="triangle">
            <a:avLst>
              <a:gd name="adj" fmla="val 50000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de-DE" sz="2133" dirty="0">
              <a:latin typeface="+mn-lt"/>
              <a:ea typeface="+mn-ea"/>
              <a:sym typeface="+mn-lt"/>
            </a:endParaRPr>
          </a:p>
        </p:txBody>
      </p:sp>
      <p:sp>
        <p:nvSpPr>
          <p:cNvPr id="285" name="Bracket" hidden="1">
            <a:extLst>
              <a:ext uri="{FF2B5EF4-FFF2-40B4-BE49-F238E27FC236}">
                <a16:creationId xmlns:a16="http://schemas.microsoft.com/office/drawing/2014/main" id="{5FCCB044-E9BF-430D-A825-D3CC24041CA2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8485188" y="3159125"/>
            <a:ext cx="254000" cy="210343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868"/>
              <a:gd name="connsiteY0" fmla="*/ 0 h 3282"/>
              <a:gd name="connsiteX1" fmla="*/ 3818 w 3868"/>
              <a:gd name="connsiteY1" fmla="*/ 213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79 w 3868"/>
              <a:gd name="connsiteY2" fmla="*/ 537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3818 w 3818"/>
              <a:gd name="connsiteY4" fmla="*/ 2754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79 w 3818"/>
              <a:gd name="connsiteY4" fmla="*/ 615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753"/>
              <a:gd name="connsiteY0" fmla="*/ 0 h 3282"/>
              <a:gd name="connsiteX1" fmla="*/ 79 w 3753"/>
              <a:gd name="connsiteY1" fmla="*/ 0 h 3282"/>
              <a:gd name="connsiteX2" fmla="*/ 79 w 3753"/>
              <a:gd name="connsiteY2" fmla="*/ 537 h 3282"/>
              <a:gd name="connsiteX3" fmla="*/ 118 w 3753"/>
              <a:gd name="connsiteY3" fmla="*/ 576 h 3282"/>
              <a:gd name="connsiteX4" fmla="*/ 79 w 3753"/>
              <a:gd name="connsiteY4" fmla="*/ 615 h 3282"/>
              <a:gd name="connsiteX5" fmla="*/ 79 w 3753"/>
              <a:gd name="connsiteY5" fmla="*/ 1152 h 3282"/>
              <a:gd name="connsiteX6" fmla="*/ 3753 w 3753"/>
              <a:gd name="connsiteY6" fmla="*/ 3282 h 3282"/>
              <a:gd name="connsiteX0" fmla="*/ 0 w 118"/>
              <a:gd name="connsiteY0" fmla="*/ 0 h 1152"/>
              <a:gd name="connsiteX1" fmla="*/ 79 w 118"/>
              <a:gd name="connsiteY1" fmla="*/ 0 h 1152"/>
              <a:gd name="connsiteX2" fmla="*/ 79 w 118"/>
              <a:gd name="connsiteY2" fmla="*/ 537 h 1152"/>
              <a:gd name="connsiteX3" fmla="*/ 118 w 118"/>
              <a:gd name="connsiteY3" fmla="*/ 576 h 1152"/>
              <a:gd name="connsiteX4" fmla="*/ 79 w 118"/>
              <a:gd name="connsiteY4" fmla="*/ 615 h 1152"/>
              <a:gd name="connsiteX5" fmla="*/ 79 w 118"/>
              <a:gd name="connsiteY5" fmla="*/ 1152 h 1152"/>
              <a:gd name="connsiteX6" fmla="*/ 0 w 118"/>
              <a:gd name="connsiteY6" fmla="*/ 1152 h 1152"/>
              <a:gd name="connsiteX0" fmla="*/ 0 w 4763"/>
              <a:gd name="connsiteY0" fmla="*/ 0 h 2881"/>
              <a:gd name="connsiteX1" fmla="*/ 4724 w 4763"/>
              <a:gd name="connsiteY1" fmla="*/ 1729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93 w 4763"/>
              <a:gd name="connsiteY2" fmla="*/ 529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4724 w 4724"/>
              <a:gd name="connsiteY4" fmla="*/ 2344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93 w 4724"/>
              <a:gd name="connsiteY4" fmla="*/ 622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  <a:gd name="connsiteX0" fmla="*/ 0 w 4784"/>
              <a:gd name="connsiteY0" fmla="*/ 0 h 2881"/>
              <a:gd name="connsiteX1" fmla="*/ 4738 w 4784"/>
              <a:gd name="connsiteY1" fmla="*/ 1729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93 w 4784"/>
              <a:gd name="connsiteY2" fmla="*/ 529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4738 w 4738"/>
              <a:gd name="connsiteY4" fmla="*/ 2351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93 w 4738"/>
              <a:gd name="connsiteY4" fmla="*/ 622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9" h="1152">
                <a:moveTo>
                  <a:pt x="0" y="0"/>
                </a:moveTo>
                <a:lnTo>
                  <a:pt x="93" y="0"/>
                </a:lnTo>
                <a:lnTo>
                  <a:pt x="93" y="529"/>
                </a:lnTo>
                <a:lnTo>
                  <a:pt x="139" y="576"/>
                </a:lnTo>
                <a:lnTo>
                  <a:pt x="93" y="622"/>
                </a:lnTo>
                <a:lnTo>
                  <a:pt x="93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defRPr/>
            </a:pPr>
            <a:endParaRPr lang="de-DE" sz="2133" dirty="0">
              <a:latin typeface="+mn-lt"/>
              <a:ea typeface="+mn-ea"/>
              <a:sym typeface="+mn-lt"/>
            </a:endParaRPr>
          </a:p>
        </p:txBody>
      </p:sp>
      <p:grpSp>
        <p:nvGrpSpPr>
          <p:cNvPr id="289" name="Flow" hidden="1">
            <a:extLst>
              <a:ext uri="{FF2B5EF4-FFF2-40B4-BE49-F238E27FC236}">
                <a16:creationId xmlns:a16="http://schemas.microsoft.com/office/drawing/2014/main" id="{15CD1487-2678-44E2-B5CC-49CEB35C48CB}"/>
              </a:ext>
            </a:extLst>
          </p:cNvPr>
          <p:cNvGrpSpPr>
            <a:grpSpLocks/>
          </p:cNvGrpSpPr>
          <p:nvPr>
            <p:custDataLst>
              <p:tags r:id="rId47"/>
            </p:custDataLst>
          </p:nvPr>
        </p:nvGrpSpPr>
        <p:grpSpPr bwMode="gray">
          <a:xfrm>
            <a:off x="3870786" y="3158730"/>
            <a:ext cx="2104535" cy="1052068"/>
            <a:chOff x="5905500" y="3124200"/>
            <a:chExt cx="1828800" cy="914400"/>
          </a:xfrm>
          <a:solidFill>
            <a:srgbClr val="DCB45A"/>
          </a:solidFill>
        </p:grpSpPr>
        <p:sp>
          <p:nvSpPr>
            <p:cNvPr id="290" name="Freeform 85">
              <a:extLst>
                <a:ext uri="{FF2B5EF4-FFF2-40B4-BE49-F238E27FC236}">
                  <a16:creationId xmlns:a16="http://schemas.microsoft.com/office/drawing/2014/main" id="{6EF94FCB-53EA-4797-A26F-EBE1A10BEA94}"/>
                </a:ext>
              </a:extLst>
            </p:cNvPr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D66916BC-2C12-4199-9019-E1682114580E}"/>
                </a:ext>
              </a:extLst>
            </p:cNvPr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</p:grpSp>
      <p:grpSp>
        <p:nvGrpSpPr>
          <p:cNvPr id="292" name="SplitFlow" hidden="1">
            <a:extLst>
              <a:ext uri="{FF2B5EF4-FFF2-40B4-BE49-F238E27FC236}">
                <a16:creationId xmlns:a16="http://schemas.microsoft.com/office/drawing/2014/main" id="{73A0864C-2FD8-4FCE-ACEB-DEE00BA7CF76}"/>
              </a:ext>
            </a:extLst>
          </p:cNvPr>
          <p:cNvGrpSpPr/>
          <p:nvPr>
            <p:custDataLst>
              <p:tags r:id="rId48"/>
            </p:custDataLst>
          </p:nvPr>
        </p:nvGrpSpPr>
        <p:grpSpPr bwMode="gray">
          <a:xfrm>
            <a:off x="6177881" y="3158730"/>
            <a:ext cx="2104535" cy="1052068"/>
            <a:chOff x="114300" y="1270000"/>
            <a:chExt cx="1828800" cy="914400"/>
          </a:xfrm>
          <a:solidFill>
            <a:srgbClr val="DCB45A"/>
          </a:solidFill>
        </p:grpSpPr>
        <p:sp>
          <p:nvSpPr>
            <p:cNvPr id="293" name="Freeform 88">
              <a:extLst>
                <a:ext uri="{FF2B5EF4-FFF2-40B4-BE49-F238E27FC236}">
                  <a16:creationId xmlns:a16="http://schemas.microsoft.com/office/drawing/2014/main" id="{7F450F19-2202-46C9-B60D-9542379B2702}"/>
                </a:ext>
              </a:extLst>
            </p:cNvPr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15247FC2-B846-48EF-B0A5-0E1AC51708E7}"/>
                </a:ext>
              </a:extLst>
            </p:cNvPr>
            <p:cNvSpPr txBox="1"/>
            <p:nvPr/>
          </p:nvSpPr>
          <p:spPr bwMode="gray">
            <a:xfrm>
              <a:off x="177800" y="1327150"/>
              <a:ext cx="1524000" cy="336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  <p:sp>
          <p:nvSpPr>
            <p:cNvPr id="295" name="Freeform 90">
              <a:extLst>
                <a:ext uri="{FF2B5EF4-FFF2-40B4-BE49-F238E27FC236}">
                  <a16:creationId xmlns:a16="http://schemas.microsoft.com/office/drawing/2014/main" id="{6901536F-391C-4721-9A47-FA9FDF2C8987}"/>
                </a:ext>
              </a:extLst>
            </p:cNvPr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2133" dirty="0">
                <a:solidFill>
                  <a:schemeClr val="tx1"/>
                </a:solidFill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29AF8259-FE75-48B0-8B41-F897677AFE7C}"/>
                </a:ext>
              </a:extLst>
            </p:cNvPr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>
                <a:defRPr/>
              </a:pPr>
              <a:r>
                <a:rPr lang="de-DE" sz="2133" b="1" dirty="0">
                  <a:ea typeface="+mn-ea"/>
                </a:rPr>
                <a:t>Text</a:t>
              </a:r>
            </a:p>
          </p:txBody>
        </p:sp>
      </p:grpSp>
      <p:sp>
        <p:nvSpPr>
          <p:cNvPr id="298" name="4. Footnote" hidden="1">
            <a:extLst>
              <a:ext uri="{FF2B5EF4-FFF2-40B4-BE49-F238E27FC236}">
                <a16:creationId xmlns:a16="http://schemas.microsoft.com/office/drawing/2014/main" id="{62A356C6-7F50-4D97-A742-34F98DCA18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19275" y="6224588"/>
            <a:ext cx="9337675" cy="16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6782" indent="-86782" eaLnBrk="1" hangingPunct="1">
              <a:defRPr/>
            </a:pPr>
            <a:r>
              <a:rPr lang="de-DE" sz="1067" dirty="0">
                <a:latin typeface="+mn-lt"/>
                <a:ea typeface="+mn-ea"/>
              </a:rPr>
              <a:t>1 Fußnote</a:t>
            </a:r>
          </a:p>
        </p:txBody>
      </p:sp>
      <p:sp>
        <p:nvSpPr>
          <p:cNvPr id="299" name="5. Source" hidden="1">
            <a:extLst>
              <a:ext uri="{FF2B5EF4-FFF2-40B4-BE49-F238E27FC236}">
                <a16:creationId xmlns:a16="http://schemas.microsoft.com/office/drawing/2014/main" id="{344D905E-19C6-4CC0-B71D-D835FCD0B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19275" y="6430963"/>
            <a:ext cx="933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353475" indent="-353475" defTabSz="1193770" eaLnBrk="1" hangingPunct="1">
              <a:defRPr/>
            </a:pPr>
            <a:r>
              <a:rPr lang="de-DE" sz="1067" dirty="0">
                <a:solidFill>
                  <a:srgbClr val="000000"/>
                </a:solidFill>
                <a:latin typeface="+mn-lt"/>
                <a:ea typeface="+mn-ea"/>
              </a:rPr>
              <a:t>Quelle: Quelle</a:t>
            </a: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F0072255-5BB5-B54C-9E36-28BB27031309}"/>
              </a:ext>
            </a:extLst>
          </p:cNvPr>
          <p:cNvSpPr/>
          <p:nvPr userDrawn="1"/>
        </p:nvSpPr>
        <p:spPr>
          <a:xfrm>
            <a:off x="-727075" y="896938"/>
            <a:ext cx="285750" cy="10604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  <p:sldLayoutId id="2147483890" r:id="rId27"/>
    <p:sldLayoutId id="2147483891" r:id="rId28"/>
    <p:sldLayoutId id="2147483892" r:id="rId29"/>
    <p:sldLayoutId id="2147483893" r:id="rId30"/>
    <p:sldLayoutId id="2147483894" r:id="rId31"/>
    <p:sldLayoutId id="2147483895" r:id="rId32"/>
    <p:sldLayoutId id="2147483896" r:id="rId33"/>
    <p:sldLayoutId id="2147483897" r:id="rId34"/>
    <p:sldLayoutId id="2147483898" r:id="rId35"/>
    <p:sldLayoutId id="2147483899" r:id="rId36"/>
    <p:sldLayoutId id="2147483900" r:id="rId37"/>
  </p:sldLayoutIdLst>
  <p:hf hdr="0" ftr="0" dt="0"/>
  <p:txStyles>
    <p:titleStyle>
      <a:lvl1pPr algn="l" defTabSz="893763" rtl="0" fontAlgn="base">
        <a:lnSpc>
          <a:spcPct val="90000"/>
        </a:lnSpc>
        <a:spcBef>
          <a:spcPct val="0"/>
        </a:spcBef>
        <a:spcAft>
          <a:spcPct val="0"/>
        </a:spcAft>
        <a:tabLst>
          <a:tab pos="595313" algn="l"/>
        </a:tabLs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defTabSz="893763" rtl="0" fontAlgn="base">
        <a:lnSpc>
          <a:spcPct val="90000"/>
        </a:lnSpc>
        <a:spcBef>
          <a:spcPct val="0"/>
        </a:spcBef>
        <a:spcAft>
          <a:spcPct val="0"/>
        </a:spcAft>
        <a:tabLst>
          <a:tab pos="595313" algn="l"/>
        </a:tabLst>
        <a:defRPr sz="4400">
          <a:solidFill>
            <a:schemeClr val="tx1"/>
          </a:solidFill>
          <a:latin typeface="BundesSans Bold" panose="020B0002030500000203" pitchFamily="34" charset="0"/>
          <a:ea typeface="ＭＳ Ｐゴシック" panose="020B0600070205080204" pitchFamily="34" charset="-128"/>
        </a:defRPr>
      </a:lvl2pPr>
      <a:lvl3pPr algn="l" defTabSz="893763" rtl="0" fontAlgn="base">
        <a:lnSpc>
          <a:spcPct val="90000"/>
        </a:lnSpc>
        <a:spcBef>
          <a:spcPct val="0"/>
        </a:spcBef>
        <a:spcAft>
          <a:spcPct val="0"/>
        </a:spcAft>
        <a:tabLst>
          <a:tab pos="595313" algn="l"/>
        </a:tabLst>
        <a:defRPr sz="4400">
          <a:solidFill>
            <a:schemeClr val="tx1"/>
          </a:solidFill>
          <a:latin typeface="BundesSans Bold" panose="020B0002030500000203" pitchFamily="34" charset="0"/>
          <a:ea typeface="ＭＳ Ｐゴシック" panose="020B0600070205080204" pitchFamily="34" charset="-128"/>
        </a:defRPr>
      </a:lvl3pPr>
      <a:lvl4pPr algn="l" defTabSz="893763" rtl="0" fontAlgn="base">
        <a:lnSpc>
          <a:spcPct val="90000"/>
        </a:lnSpc>
        <a:spcBef>
          <a:spcPct val="0"/>
        </a:spcBef>
        <a:spcAft>
          <a:spcPct val="0"/>
        </a:spcAft>
        <a:tabLst>
          <a:tab pos="595313" algn="l"/>
        </a:tabLst>
        <a:defRPr sz="4400">
          <a:solidFill>
            <a:schemeClr val="tx1"/>
          </a:solidFill>
          <a:latin typeface="BundesSans Bold" panose="020B0002030500000203" pitchFamily="34" charset="0"/>
          <a:ea typeface="ＭＳ Ｐゴシック" panose="020B0600070205080204" pitchFamily="34" charset="-128"/>
        </a:defRPr>
      </a:lvl4pPr>
      <a:lvl5pPr algn="l" defTabSz="893763" rtl="0" fontAlgn="base">
        <a:lnSpc>
          <a:spcPct val="90000"/>
        </a:lnSpc>
        <a:spcBef>
          <a:spcPct val="0"/>
        </a:spcBef>
        <a:spcAft>
          <a:spcPct val="0"/>
        </a:spcAft>
        <a:tabLst>
          <a:tab pos="595313" algn="l"/>
        </a:tabLst>
        <a:defRPr sz="4400">
          <a:solidFill>
            <a:schemeClr val="tx1"/>
          </a:solidFill>
          <a:latin typeface="BundesSans Bold" panose="020B0002030500000203" pitchFamily="34" charset="0"/>
          <a:ea typeface="ＭＳ Ｐゴシック" panose="020B0600070205080204" pitchFamily="34" charset="-128"/>
        </a:defRPr>
      </a:lvl5pPr>
      <a:lvl6pPr marL="457178" algn="l" defTabSz="8953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54" algn="l" defTabSz="8953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532" algn="l" defTabSz="8953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709" algn="l" defTabSz="8953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3763" rtl="0" fontAlgn="base">
        <a:spcBef>
          <a:spcPts val="2000"/>
        </a:spcBef>
        <a:spcAft>
          <a:spcPct val="0"/>
        </a:spcAft>
        <a:buClr>
          <a:schemeClr val="tx2"/>
        </a:buClr>
        <a:defRPr>
          <a:solidFill>
            <a:srgbClr val="000000"/>
          </a:solidFill>
          <a:latin typeface="+mn-lt"/>
          <a:ea typeface="+mn-ea"/>
          <a:cs typeface="+mn-cs"/>
        </a:defRPr>
      </a:lvl1pPr>
      <a:lvl2pPr marL="239713" indent="-239713" algn="l" defTabSz="893763" rtl="0" fontAlgn="base">
        <a:spcBef>
          <a:spcPts val="1000"/>
        </a:spcBef>
        <a:spcAft>
          <a:spcPct val="0"/>
        </a:spcAft>
        <a:buClr>
          <a:schemeClr val="accent1"/>
        </a:buClr>
        <a:buSzPct val="100000"/>
        <a:buFont typeface="Courier New" panose="02070309020205020404" pitchFamily="49" charset="0"/>
        <a:buChar char="o"/>
        <a:defRPr>
          <a:solidFill>
            <a:srgbClr val="000000"/>
          </a:solidFill>
          <a:latin typeface="+mn-lt"/>
          <a:ea typeface="+mn-ea"/>
          <a:cs typeface="+mn-cs"/>
        </a:defRPr>
      </a:lvl2pPr>
      <a:lvl3pPr marL="239713" indent="-239713" algn="l" defTabSz="893763" rtl="0" fontAlgn="base">
        <a:spcBef>
          <a:spcPts val="1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3pPr>
      <a:lvl4pPr marL="479425" indent="-239713" algn="l" defTabSz="893763" rtl="0" fontAlgn="base">
        <a:spcBef>
          <a:spcPts val="9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4pPr>
      <a:lvl5pPr marL="719138" indent="-239713" algn="l" defTabSz="893763" rtl="0" fontAlgn="base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5pPr>
      <a:lvl6pPr marL="749771" indent="-130167" algn="l" defTabSz="8953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71" indent="-130167" algn="l" defTabSz="8953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71" indent="-130167" algn="l" defTabSz="8953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71" indent="-130167" algn="l" defTabSz="8953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25205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413" imgH="416" progId="TCLayout.ActiveDocument.1">
                  <p:embed/>
                </p:oleObj>
              </mc:Choice>
              <mc:Fallback>
                <p:oleObj name="think-cell Foli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044" y="6278401"/>
            <a:ext cx="727957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de-DE" sz="800" dirty="0"/>
              <a:t>Fuß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809" y="172212"/>
            <a:ext cx="11083971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2064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sz="21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808" y="1289274"/>
            <a:ext cx="4505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de-DE" sz="8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8518" y="2170801"/>
            <a:ext cx="304965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1600" dirty="0"/>
              <a:t>Above Chart Exhibit Title</a:t>
            </a:r>
            <a:br>
              <a:rPr lang="de-DE" sz="1600" dirty="0"/>
            </a:br>
            <a:r>
              <a:rPr lang="de-DE" sz="1400" b="0" dirty="0"/>
              <a:t>Unit of Measure</a:t>
            </a:r>
            <a:endParaRPr lang="de-DE" sz="160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809" y="2170801"/>
            <a:ext cx="387977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52EF2D4C-5481-42AB-ACC5-5FDF73B5E292}"/>
              </a:ext>
            </a:extLst>
          </p:cNvPr>
          <p:cNvGrpSpPr/>
          <p:nvPr userDrawn="1"/>
        </p:nvGrpSpPr>
        <p:grpSpPr>
          <a:xfrm>
            <a:off x="10219249" y="3150223"/>
            <a:ext cx="1419531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C34DB15-6F91-442A-93B0-36244BB8A1AC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DD4BDBD9-C8DC-4880-AB05-9CB56D1EADD5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604248B0-E8FC-4CB1-AA3B-30A41787C31C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03C2F45-72C6-4FBF-ACD7-AA8E7539F6B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59900C46-FBBD-4235-9EC4-AE16C6EA516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C22DECC-960B-4EDA-85B9-B0451219587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0A088332-EF5E-44E6-B3AD-6AED3FE290DC}"/>
              </a:ext>
            </a:extLst>
          </p:cNvPr>
          <p:cNvGrpSpPr/>
          <p:nvPr userDrawn="1"/>
        </p:nvGrpSpPr>
        <p:grpSpPr>
          <a:xfrm>
            <a:off x="10590308" y="1145373"/>
            <a:ext cx="1048472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0227004-55CE-417C-9656-4A5B6FB3AF88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4BA6C4D7-A56E-4883-B68C-8934F14506DF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0F85019-E7CD-4E7B-917F-C5ED5740703A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4FDCC53-0298-4F5B-89F2-0CF49BDE8772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903E2A99-80E8-4B57-871B-97A92DF55120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93C2A56-8E67-41E3-A363-B4A793E3D7C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3AFDDB21-E47C-446B-86A4-6DF250FA31C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C8E775EA-C469-4096-A109-07FB001CC53E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5A5CD15-2460-4710-B387-9BA3F15D57D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7F5A20-7E60-4901-A04F-E20850D846D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F3A47C1A-D5E5-4046-971A-175395F0B89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6D9B1B7-C944-4FB7-8628-686470AE441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64AFFD13-D856-49FC-84A0-8342603EAD1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04A2A9C-9558-40D5-9E4C-C5E30BCC3B8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2960022-9C3C-4DF7-8B58-795E39546B6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895C366-D2A4-4845-9C33-59E1C93C444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B568AE97-9F0D-4C81-9CED-94C958F8073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69F238E-4A3A-4B8A-A5E9-B12355D9634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245EC50-63E6-4DC0-8467-EB548CA2413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139A922-CEA1-413B-B723-5DE0028B544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8E96A70F-AF10-4920-BF4E-959B24CE2D9E}"/>
              </a:ext>
            </a:extLst>
          </p:cNvPr>
          <p:cNvGrpSpPr/>
          <p:nvPr userDrawn="1"/>
        </p:nvGrpSpPr>
        <p:grpSpPr>
          <a:xfrm>
            <a:off x="10616798" y="4381500"/>
            <a:ext cx="1021982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2915DC04-7B34-488D-84A5-0ACFADB854CE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A086E11-28FA-47BC-8BFE-6D6E46750DA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52E2A3E2-502F-4D7E-BDD3-7729E8891E3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4C84869C-9FF8-476D-B615-E22FF167092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4B704F4D-1567-43A2-A1A9-5C23ACCA82CD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C1B446B5-1F64-474A-85A2-1F505AE6B9D5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662B5C5-2476-44F1-A06C-E713841B9D6E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6CF3F883-146F-4E88-B988-FBC53DDB4D64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D730AC0-9EA0-46D8-BB78-D445BFA345B5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1A3ABB5-92FA-41E4-BBA0-9B338E23E118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0524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9997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Courier New" panose="02070309020205020404" pitchFamily="49" charset="0"/>
        <a:buChar char="o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9994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9991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988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4072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9" imgW="413" imgH="416" progId="TCLayout.ActiveDocument.1">
                  <p:embed/>
                </p:oleObj>
              </mc:Choice>
              <mc:Fallback>
                <p:oleObj name="think-cell Foli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de-DE" sz="2500" b="1" i="0" baseline="0" dirty="0">
              <a:solidFill>
                <a:schemeClr val="bg1"/>
              </a:solidFill>
              <a:latin typeface="BundesSans Bold" panose="020B0002030500000203" pitchFamily="34" charset="0"/>
              <a:ea typeface="+mj-ea"/>
              <a:cs typeface="+mj-cs"/>
              <a:sym typeface="BundesSans Bold" panose="020B0002030500000203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044" y="6278401"/>
            <a:ext cx="727957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de-DE" sz="800" dirty="0"/>
              <a:t>Fuß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809" y="172212"/>
            <a:ext cx="11083971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2064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de-DE" sz="21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808" y="1289274"/>
            <a:ext cx="45050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de-DE" sz="8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8518" y="2170801"/>
            <a:ext cx="304965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de-DE" sz="1600" dirty="0"/>
              <a:t>Above Chart Exhibit Title</a:t>
            </a:r>
            <a:br>
              <a:rPr lang="de-DE" sz="1600" dirty="0"/>
            </a:br>
            <a:r>
              <a:rPr lang="de-DE" sz="1400" b="0" dirty="0"/>
              <a:t>Unit of Measure</a:t>
            </a:r>
            <a:endParaRPr lang="de-DE" sz="1600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809" y="2170801"/>
            <a:ext cx="387977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52EF2D4C-5481-42AB-ACC5-5FDF73B5E292}"/>
              </a:ext>
            </a:extLst>
          </p:cNvPr>
          <p:cNvGrpSpPr/>
          <p:nvPr userDrawn="1"/>
        </p:nvGrpSpPr>
        <p:grpSpPr>
          <a:xfrm>
            <a:off x="10219249" y="3150223"/>
            <a:ext cx="1419531" cy="958286"/>
            <a:chOff x="10162879" y="3243772"/>
            <a:chExt cx="141934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C34DB15-6F91-442A-93B0-36244BB8A1AC}"/>
                </a:ext>
              </a:extLst>
            </p:cNvPr>
            <p:cNvSpPr txBox="1"/>
            <p:nvPr/>
          </p:nvSpPr>
          <p:spPr>
            <a:xfrm>
              <a:off x="10886522" y="324377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DD4BDBD9-C8DC-4880-AB05-9CB56D1EADD5}"/>
                </a:ext>
              </a:extLst>
            </p:cNvPr>
            <p:cNvSpPr txBox="1"/>
            <p:nvPr/>
          </p:nvSpPr>
          <p:spPr>
            <a:xfrm>
              <a:off x="10886522" y="3615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604248B0-E8FC-4CB1-AA3B-30A41787C31C}"/>
                </a:ext>
              </a:extLst>
            </p:cNvPr>
            <p:cNvSpPr txBox="1"/>
            <p:nvPr/>
          </p:nvSpPr>
          <p:spPr>
            <a:xfrm>
              <a:off x="10886522" y="398661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03C2F45-72C6-4FBF-ACD7-AA8E7539F6B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59900C46-FBBD-4235-9EC4-AE16C6EA516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C22DECC-960B-4EDA-85B9-B0451219587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0A088332-EF5E-44E6-B3AD-6AED3FE290DC}"/>
              </a:ext>
            </a:extLst>
          </p:cNvPr>
          <p:cNvGrpSpPr/>
          <p:nvPr userDrawn="1"/>
        </p:nvGrpSpPr>
        <p:grpSpPr>
          <a:xfrm>
            <a:off x="10590308" y="1145373"/>
            <a:ext cx="1048472" cy="1731859"/>
            <a:chOff x="7723680" y="1702457"/>
            <a:chExt cx="104833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0227004-55CE-417C-9656-4A5B6FB3AF88}"/>
                </a:ext>
              </a:extLst>
            </p:cNvPr>
            <p:cNvSpPr txBox="1"/>
            <p:nvPr/>
          </p:nvSpPr>
          <p:spPr>
            <a:xfrm>
              <a:off x="8076312" y="1709816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4BA6C4D7-A56E-4883-B68C-8934F14506DF}"/>
                </a:ext>
              </a:extLst>
            </p:cNvPr>
            <p:cNvSpPr txBox="1"/>
            <p:nvPr/>
          </p:nvSpPr>
          <p:spPr>
            <a:xfrm>
              <a:off x="8076312" y="2085275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0F85019-E7CD-4E7B-917F-C5ED5740703A}"/>
                </a:ext>
              </a:extLst>
            </p:cNvPr>
            <p:cNvSpPr txBox="1"/>
            <p:nvPr/>
          </p:nvSpPr>
          <p:spPr>
            <a:xfrm>
              <a:off x="8076312" y="246073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4FDCC53-0298-4F5B-89F2-0CF49BDE8772}"/>
                </a:ext>
              </a:extLst>
            </p:cNvPr>
            <p:cNvSpPr txBox="1"/>
            <p:nvPr/>
          </p:nvSpPr>
          <p:spPr>
            <a:xfrm>
              <a:off x="8076312" y="2836193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903E2A99-80E8-4B57-871B-97A92DF55120}"/>
                </a:ext>
              </a:extLst>
            </p:cNvPr>
            <p:cNvSpPr txBox="1"/>
            <p:nvPr/>
          </p:nvSpPr>
          <p:spPr>
            <a:xfrm>
              <a:off x="8076312" y="321165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93C2A56-8E67-41E3-A363-B4A793E3D7C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3AFDDB21-E47C-446B-86A4-6DF250FA31C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C8E775EA-C469-4096-A109-07FB001CC53E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5A5CD15-2460-4710-B387-9BA3F15D57D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7F5A20-7E60-4901-A04F-E20850D846D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F3A47C1A-D5E5-4046-971A-175395F0B89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6D9B1B7-C944-4FB7-8628-686470AE441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64AFFD13-D856-49FC-84A0-8342603EAD1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704A2A9C-9558-40D5-9E4C-C5E30BCC3B8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2960022-9C3C-4DF7-8B58-795E39546B6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7895C366-D2A4-4845-9C33-59E1C93C444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B568AE97-9F0D-4C81-9CED-94C958F8073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69F238E-4A3A-4B8A-A5E9-B12355D9634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8245EC50-63E6-4DC0-8467-EB548CA2413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139A922-CEA1-413B-B723-5DE0028B544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8E96A70F-AF10-4920-BF4E-959B24CE2D9E}"/>
              </a:ext>
            </a:extLst>
          </p:cNvPr>
          <p:cNvGrpSpPr/>
          <p:nvPr userDrawn="1"/>
        </p:nvGrpSpPr>
        <p:grpSpPr>
          <a:xfrm>
            <a:off x="10616798" y="4381500"/>
            <a:ext cx="1021982" cy="1717282"/>
            <a:chOff x="10652400" y="4322824"/>
            <a:chExt cx="102184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2915DC04-7B34-488D-84A5-0ACFADB854CE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3A086E11-28FA-47BC-8BFE-6D6E46750DA9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52E2A3E2-502F-4D7E-BDD3-7729E8891E3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4C84869C-9FF8-476D-B615-E22FF167092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4B704F4D-1567-43A2-A1A9-5C23ACCA82CD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C1B446B5-1F64-474A-85A2-1F505AE6B9D5}"/>
                </a:ext>
              </a:extLst>
            </p:cNvPr>
            <p:cNvSpPr txBox="1"/>
            <p:nvPr/>
          </p:nvSpPr>
          <p:spPr>
            <a:xfrm>
              <a:off x="10978546" y="4322824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662B5C5-2476-44F1-A06C-E713841B9D6E}"/>
                </a:ext>
              </a:extLst>
            </p:cNvPr>
            <p:cNvSpPr txBox="1"/>
            <p:nvPr/>
          </p:nvSpPr>
          <p:spPr>
            <a:xfrm>
              <a:off x="10978546" y="470232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6CF3F883-146F-4E88-B988-FBC53DDB4D64}"/>
                </a:ext>
              </a:extLst>
            </p:cNvPr>
            <p:cNvSpPr txBox="1"/>
            <p:nvPr/>
          </p:nvSpPr>
          <p:spPr>
            <a:xfrm>
              <a:off x="10978546" y="5081820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D730AC0-9EA0-46D8-BB78-D445BFA345B5}"/>
                </a:ext>
              </a:extLst>
            </p:cNvPr>
            <p:cNvSpPr txBox="1"/>
            <p:nvPr/>
          </p:nvSpPr>
          <p:spPr>
            <a:xfrm>
              <a:off x="10978546" y="5453241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1A3ABB5-92FA-41E4-BBA0-9B338E23E118}"/>
                </a:ext>
              </a:extLst>
            </p:cNvPr>
            <p:cNvSpPr txBox="1"/>
            <p:nvPr/>
          </p:nvSpPr>
          <p:spPr>
            <a:xfrm>
              <a:off x="10978545" y="5824662"/>
              <a:ext cx="69570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dirty="0"/>
                <a:t>Legen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1733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de-DE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9997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Courier New" panose="02070309020205020404" pitchFamily="49" charset="0"/>
        <a:buChar char="o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9994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9991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988" indent="-179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3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3.xml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84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kt 4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5058" name="Objekt 4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2E96A8F-6DAB-4EB7-BEB9-8B6CC7B5FA80}" type="slidenum">
              <a:rPr lang="aa-ET"/>
              <a:pPr>
                <a:defRPr/>
              </a:pPr>
              <a:t>1</a:t>
            </a:fld>
            <a:endParaRPr lang="aa-ET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442913" y="279267"/>
            <a:ext cx="7483475" cy="648512"/>
          </a:xfrm>
        </p:spPr>
        <p:txBody>
          <a:bodyPr/>
          <a:lstStyle/>
          <a:p>
            <a:pPr defTabSz="895306">
              <a:spcAft>
                <a:spcPts val="0"/>
              </a:spcAft>
              <a:defRPr/>
            </a:pPr>
            <a:r>
              <a:rPr lang="de-DE" sz="2000" dirty="0"/>
              <a:t>Name Themenfeld</a:t>
            </a:r>
          </a:p>
          <a:p>
            <a:pPr defTabSz="895306">
              <a:spcAft>
                <a:spcPts val="0"/>
              </a:spcAft>
              <a:defRPr/>
            </a:pPr>
            <a:r>
              <a:rPr lang="de-DE" sz="2000" dirty="0"/>
              <a:t>Name Umsetzungsprojekt</a:t>
            </a:r>
            <a:r>
              <a:rPr lang="de-DE" sz="2000" dirty="0">
                <a:solidFill>
                  <a:schemeClr val="tx2"/>
                </a:solidFill>
              </a:rPr>
              <a:t> </a:t>
            </a:r>
          </a:p>
        </p:txBody>
      </p:sp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6384548"/>
              </p:ext>
            </p:extLst>
          </p:nvPr>
        </p:nvGraphicFramePr>
        <p:xfrm>
          <a:off x="7880350" y="5455796"/>
          <a:ext cx="3648075" cy="987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314">
                  <a:extLst>
                    <a:ext uri="{9D8B030D-6E8A-4147-A177-3AD203B41FA5}">
                      <a16:colId xmlns:a16="http://schemas.microsoft.com/office/drawing/2014/main" val="2040531885"/>
                    </a:ext>
                  </a:extLst>
                </a:gridCol>
                <a:gridCol w="1177207">
                  <a:extLst>
                    <a:ext uri="{9D8B030D-6E8A-4147-A177-3AD203B41FA5}">
                      <a16:colId xmlns:a16="http://schemas.microsoft.com/office/drawing/2014/main" val="3277785269"/>
                    </a:ext>
                  </a:extLst>
                </a:gridCol>
                <a:gridCol w="1219554">
                  <a:extLst>
                    <a:ext uri="{9D8B030D-6E8A-4147-A177-3AD203B41FA5}">
                      <a16:colId xmlns:a16="http://schemas.microsoft.com/office/drawing/2014/main" val="221703356"/>
                    </a:ext>
                  </a:extLst>
                </a:gridCol>
              </a:tblGrid>
              <a:tr h="246828">
                <a:tc gridSpan="3">
                  <a:txBody>
                    <a:bodyPr/>
                    <a:lstStyle/>
                    <a:p>
                      <a:pPr algn="ctr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Meilenstein</a:t>
                      </a:r>
                      <a:r>
                        <a:rPr lang="de-DE" sz="1000" baseline="0" dirty="0">
                          <a:solidFill>
                            <a:schemeClr val="tx2"/>
                          </a:solidFill>
                        </a:rPr>
                        <a:t>planung lt. Projektantrag (</a:t>
                      </a:r>
                      <a:r>
                        <a:rPr lang="de-DE" sz="1000" i="1" baseline="0" dirty="0">
                          <a:solidFill>
                            <a:schemeClr val="tx2"/>
                          </a:solidFill>
                        </a:rPr>
                        <a:t>bleibt unverändert)</a:t>
                      </a:r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66" marR="91466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05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sz="105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753989"/>
                  </a:ext>
                </a:extLst>
              </a:tr>
              <a:tr h="246828"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>
                          <a:solidFill>
                            <a:schemeClr val="tx2"/>
                          </a:solidFill>
                        </a:rPr>
                        <a:t>M1</a:t>
                      </a:r>
                    </a:p>
                  </a:txBody>
                  <a:tcPr marL="91466" marR="91466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>
                          <a:solidFill>
                            <a:schemeClr val="tx2"/>
                          </a:solidFill>
                        </a:rPr>
                        <a:t>M2</a:t>
                      </a:r>
                    </a:p>
                  </a:txBody>
                  <a:tcPr marL="91466" marR="91466" marT="45690" marB="4569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000" b="1" dirty="0">
                          <a:solidFill>
                            <a:schemeClr val="tx2"/>
                          </a:solidFill>
                        </a:rPr>
                        <a:t>M3</a:t>
                      </a:r>
                    </a:p>
                  </a:txBody>
                  <a:tcPr marL="91466" marR="91466" marT="45690" marB="45690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199770"/>
                  </a:ext>
                </a:extLst>
              </a:tr>
              <a:tr h="246728"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XX.XX.20XX</a:t>
                      </a:r>
                    </a:p>
                  </a:txBody>
                  <a:tcPr marL="91466" marR="91466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XX.XX.20XX</a:t>
                      </a:r>
                    </a:p>
                  </a:txBody>
                  <a:tcPr marL="91466" marR="91466" marT="45690" marB="456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XX.XX.20XX</a:t>
                      </a:r>
                    </a:p>
                  </a:txBody>
                  <a:tcPr marL="91466" marR="91466" marT="45690" marB="45690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705903"/>
                  </a:ext>
                </a:extLst>
              </a:tr>
              <a:tr h="246728"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X.XXX.XXX</a:t>
                      </a:r>
                      <a:r>
                        <a:rPr lang="de-DE" sz="8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€</a:t>
                      </a:r>
                    </a:p>
                  </a:txBody>
                  <a:tcPr marL="91466" marR="91466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X.XXX.XXX</a:t>
                      </a:r>
                      <a:r>
                        <a:rPr lang="de-DE" sz="8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€</a:t>
                      </a:r>
                    </a:p>
                  </a:txBody>
                  <a:tcPr marL="91466" marR="91466" marT="45690" marB="4569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X.XXX.XXX</a:t>
                      </a:r>
                      <a:r>
                        <a:rPr lang="de-DE" sz="8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e-DE" sz="800" dirty="0">
                          <a:solidFill>
                            <a:schemeClr val="tx2"/>
                          </a:solidFill>
                        </a:rPr>
                        <a:t>€</a:t>
                      </a:r>
                    </a:p>
                  </a:txBody>
                  <a:tcPr marL="91466" marR="91466" marT="45690" marB="45690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32080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963870"/>
              </p:ext>
            </p:extLst>
          </p:nvPr>
        </p:nvGraphicFramePr>
        <p:xfrm>
          <a:off x="7883738" y="936096"/>
          <a:ext cx="3643312" cy="1307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3312">
                  <a:extLst>
                    <a:ext uri="{9D8B030D-6E8A-4147-A177-3AD203B41FA5}">
                      <a16:colId xmlns:a16="http://schemas.microsoft.com/office/drawing/2014/main" val="2040531885"/>
                    </a:ext>
                  </a:extLst>
                </a:gridCol>
              </a:tblGrid>
              <a:tr h="301380">
                <a:tc>
                  <a:txBody>
                    <a:bodyPr/>
                    <a:lstStyle/>
                    <a:p>
                      <a:pPr algn="l"/>
                      <a:r>
                        <a:rPr lang="de-DE" sz="1100" dirty="0">
                          <a:solidFill>
                            <a:schemeClr val="tx2"/>
                          </a:solidFill>
                        </a:rPr>
                        <a:t>Begründung des Ampel-Status</a:t>
                      </a:r>
                    </a:p>
                  </a:txBody>
                  <a:tcPr marL="91448" marR="91448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753989"/>
                  </a:ext>
                </a:extLst>
              </a:tr>
              <a:tr h="742620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Begründen</a:t>
                      </a:r>
                      <a:r>
                        <a:rPr lang="de-DE" sz="1000" baseline="0" dirty="0">
                          <a:solidFill>
                            <a:schemeClr val="tx2"/>
                          </a:solidFill>
                        </a:rPr>
                        <a:t> Sie kurz den Status bspw. hinsichtlich abweichender Zeitplanung, Finanzplanung, Ressourcenplanung oder Mängel bei wichtigen Liefergegenständen. </a:t>
                      </a:r>
                    </a:p>
                    <a:p>
                      <a:pPr algn="l"/>
                      <a:endParaRPr lang="de-DE" sz="1000" baseline="0" dirty="0">
                        <a:solidFill>
                          <a:schemeClr val="tx2"/>
                        </a:solidFill>
                      </a:endParaRPr>
                    </a:p>
                    <a:p>
                      <a:pPr algn="l"/>
                      <a:endParaRPr lang="de-DE" sz="1000" baseline="0" dirty="0">
                        <a:solidFill>
                          <a:schemeClr val="tx2"/>
                        </a:solidFill>
                      </a:endParaRPr>
                    </a:p>
                    <a:p>
                      <a:pPr algn="l"/>
                      <a:endParaRPr lang="de-DE" sz="1000" baseline="0" dirty="0">
                        <a:solidFill>
                          <a:schemeClr val="tx2"/>
                        </a:solidFill>
                      </a:endParaRPr>
                    </a:p>
                  </a:txBody>
                  <a:tcPr marL="91448" marR="91448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199770"/>
                  </a:ext>
                </a:extLst>
              </a:tr>
            </a:tbl>
          </a:graphicData>
        </a:graphic>
      </p:graphicFrame>
      <p:graphicFrame>
        <p:nvGraphicFramePr>
          <p:cNvPr id="22" name="Tabel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25432"/>
              </p:ext>
            </p:extLst>
          </p:nvPr>
        </p:nvGraphicFramePr>
        <p:xfrm>
          <a:off x="442913" y="931863"/>
          <a:ext cx="3641725" cy="2725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1725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4116">
                <a:tc>
                  <a:txBody>
                    <a:bodyPr/>
                    <a:lstStyle/>
                    <a:p>
                      <a:r>
                        <a:rPr lang="de-DE" sz="1200" dirty="0"/>
                        <a:t>Aktueller Stand</a:t>
                      </a:r>
                      <a:r>
                        <a:rPr lang="de-DE" sz="1200" baseline="0" dirty="0"/>
                        <a:t> im UP</a:t>
                      </a:r>
                      <a:endParaRPr lang="de-DE" sz="1200" dirty="0"/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401621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i="0" baseline="0" dirty="0">
                          <a:solidFill>
                            <a:schemeClr val="tx2"/>
                          </a:solidFill>
                        </a:rPr>
                        <a:t>Beschreibung der wesentlichen Aktivitäten im Berichtszeitraum (Was ist im vergangenen Monat passiert?)</a:t>
                      </a:r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23" name="Tabel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972418"/>
              </p:ext>
            </p:extLst>
          </p:nvPr>
        </p:nvGraphicFramePr>
        <p:xfrm>
          <a:off x="4184650" y="931863"/>
          <a:ext cx="3641725" cy="2725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1725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4116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Nächste</a:t>
                      </a:r>
                      <a:r>
                        <a:rPr lang="de-DE" sz="1200" baseline="0" dirty="0"/>
                        <a:t> Schritte im UP</a:t>
                      </a:r>
                      <a:endParaRPr lang="de-DE" sz="1200" dirty="0"/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401621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/>
                        <a:t>Beschreibung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baseline="0" dirty="0">
                          <a:solidFill>
                            <a:schemeClr val="tx2"/>
                          </a:solidFill>
                        </a:rPr>
                        <a:t>der wesentlichen Aktivitäten für den anstehenden Berichtszeitraum (Was sind die nächsten Schritte? </a:t>
                      </a:r>
                      <a:r>
                        <a:rPr lang="de-DE" sz="1000" i="0" baseline="0" dirty="0">
                          <a:solidFill>
                            <a:schemeClr val="tx2"/>
                          </a:solidFill>
                        </a:rPr>
                        <a:t>Ist in der nächsten Zeit ein Go-Live geplant?</a:t>
                      </a:r>
                      <a:r>
                        <a:rPr lang="de-DE" sz="1000" baseline="0" dirty="0">
                          <a:solidFill>
                            <a:schemeClr val="tx2"/>
                          </a:solidFill>
                        </a:rPr>
                        <a:t>)</a:t>
                      </a:r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24" name="Tabel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215313"/>
              </p:ext>
            </p:extLst>
          </p:nvPr>
        </p:nvGraphicFramePr>
        <p:xfrm>
          <a:off x="447675" y="3782744"/>
          <a:ext cx="3641725" cy="2660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1725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2640">
                <a:tc>
                  <a:txBody>
                    <a:bodyPr/>
                    <a:lstStyle/>
                    <a:p>
                      <a:r>
                        <a:rPr lang="de-DE" sz="1200" dirty="0"/>
                        <a:t>Entscheidungsbedarfe / Risiken </a:t>
                      </a:r>
                      <a:r>
                        <a:rPr lang="de-DE" sz="1200" baseline="0" dirty="0"/>
                        <a:t>im UP</a:t>
                      </a:r>
                      <a:endParaRPr lang="de-DE" sz="1200" dirty="0"/>
                    </a:p>
                  </a:txBody>
                  <a:tcPr marL="91459" marR="91459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33775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/>
                        <a:t>Beschreibung</a:t>
                      </a:r>
                      <a:r>
                        <a:rPr lang="de-DE" sz="1000" baseline="0" dirty="0"/>
                        <a:t> von Entscheidungsbedarfen / Risiken, die eine Herausforderung darstellen, aber projektintern geklärt werden können. </a:t>
                      </a:r>
                      <a:endParaRPr lang="de-DE" sz="1000" dirty="0"/>
                    </a:p>
                  </a:txBody>
                  <a:tcPr marL="91459" marR="91459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25" name="Tabel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122016"/>
              </p:ext>
            </p:extLst>
          </p:nvPr>
        </p:nvGraphicFramePr>
        <p:xfrm>
          <a:off x="4186237" y="3782744"/>
          <a:ext cx="3640138" cy="2660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138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2640">
                <a:tc>
                  <a:txBody>
                    <a:bodyPr/>
                    <a:lstStyle/>
                    <a:p>
                      <a:r>
                        <a:rPr lang="de-DE" sz="1200" dirty="0"/>
                        <a:t>Entscheidungsbedarfe / Risiken: Steuerungskreis</a:t>
                      </a:r>
                    </a:p>
                  </a:txBody>
                  <a:tcPr marL="91419" marR="91419" marT="45713" marB="45713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33775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/>
                        <a:t>Beschreibung</a:t>
                      </a:r>
                      <a:r>
                        <a:rPr lang="de-DE" sz="1000" baseline="0" dirty="0"/>
                        <a:t> von Entscheidungsbedarfen / Risiken, die eine Einbindung des Bundes erfordern. </a:t>
                      </a:r>
                      <a:endParaRPr lang="de-DE" sz="1000" dirty="0"/>
                    </a:p>
                  </a:txBody>
                  <a:tcPr marL="91419" marR="91419" marT="45713" marB="45713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65" name="Tabelle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607774"/>
              </p:ext>
            </p:extLst>
          </p:nvPr>
        </p:nvGraphicFramePr>
        <p:xfrm>
          <a:off x="7882731" y="2314574"/>
          <a:ext cx="3643312" cy="30755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6463">
                  <a:extLst>
                    <a:ext uri="{9D8B030D-6E8A-4147-A177-3AD203B41FA5}">
                      <a16:colId xmlns:a16="http://schemas.microsoft.com/office/drawing/2014/main" val="2040531885"/>
                    </a:ext>
                  </a:extLst>
                </a:gridCol>
                <a:gridCol w="2966849">
                  <a:extLst>
                    <a:ext uri="{9D8B030D-6E8A-4147-A177-3AD203B41FA5}">
                      <a16:colId xmlns:a16="http://schemas.microsoft.com/office/drawing/2014/main" val="3277785269"/>
                    </a:ext>
                  </a:extLst>
                </a:gridCol>
              </a:tblGrid>
              <a:tr h="439359"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OZG-ID</a:t>
                      </a: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OZG-Leistung</a:t>
                      </a: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753989"/>
                  </a:ext>
                </a:extLst>
              </a:tr>
              <a:tr h="439359">
                <a:tc>
                  <a:txBody>
                    <a:bodyPr/>
                    <a:lstStyle/>
                    <a:p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XXXXX</a:t>
                      </a: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…</a:t>
                      </a:r>
                    </a:p>
                  </a:txBody>
                  <a:tcPr marL="91434" marR="91434" marT="45733" marB="45733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199770"/>
                  </a:ext>
                </a:extLst>
              </a:tr>
              <a:tr h="439359"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-</a:t>
                      </a:r>
                    </a:p>
                  </a:txBody>
                  <a:tcPr marL="91434" marR="91434" marT="45733" marB="45733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1796553"/>
                  </a:ext>
                </a:extLst>
              </a:tr>
              <a:tr h="439359"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-</a:t>
                      </a:r>
                    </a:p>
                  </a:txBody>
                  <a:tcPr marL="91434" marR="91434" marT="45733" marB="45733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7399707"/>
                  </a:ext>
                </a:extLst>
              </a:tr>
              <a:tr h="439359"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-</a:t>
                      </a:r>
                    </a:p>
                  </a:txBody>
                  <a:tcPr marL="91434" marR="91434" marT="45733" marB="45733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491876"/>
                  </a:ext>
                </a:extLst>
              </a:tr>
              <a:tr h="439359"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-</a:t>
                      </a:r>
                    </a:p>
                  </a:txBody>
                  <a:tcPr marL="91434" marR="91434" marT="45733" marB="45733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1745466"/>
                  </a:ext>
                </a:extLst>
              </a:tr>
              <a:tr h="439359">
                <a:tc>
                  <a:txBody>
                    <a:bodyPr/>
                    <a:lstStyle/>
                    <a:p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34" marR="91434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34" marR="91434" marT="45733" marB="45733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1245409"/>
                  </a:ext>
                </a:extLst>
              </a:tr>
            </a:tbl>
          </a:graphicData>
        </a:graphic>
      </p:graphicFrame>
      <p:sp>
        <p:nvSpPr>
          <p:cNvPr id="37" name="Rechteck 36"/>
          <p:cNvSpPr/>
          <p:nvPr/>
        </p:nvSpPr>
        <p:spPr bwMode="auto">
          <a:xfrm>
            <a:off x="9891711" y="182557"/>
            <a:ext cx="1621632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8956675" y="183321"/>
            <a:ext cx="896936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r>
              <a:rPr lang="de-DE" sz="1050" i="1" dirty="0">
                <a:solidFill>
                  <a:schemeClr val="tx2"/>
                </a:solidFill>
              </a:rPr>
              <a:t>Erstellungs-datum</a:t>
            </a:r>
          </a:p>
        </p:txBody>
      </p:sp>
      <p:sp>
        <p:nvSpPr>
          <p:cNvPr id="45" name="Flussdiagramm: Prozess 44"/>
          <p:cNvSpPr/>
          <p:nvPr/>
        </p:nvSpPr>
        <p:spPr bwMode="auto">
          <a:xfrm>
            <a:off x="9891711" y="183321"/>
            <a:ext cx="532605" cy="215900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S 1</a:t>
            </a:r>
          </a:p>
        </p:txBody>
      </p:sp>
      <p:sp>
        <p:nvSpPr>
          <p:cNvPr id="46" name="Ellipse 45"/>
          <p:cNvSpPr/>
          <p:nvPr/>
        </p:nvSpPr>
        <p:spPr bwMode="auto">
          <a:xfrm>
            <a:off x="10012362" y="491296"/>
            <a:ext cx="269875" cy="257175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7" name="Ellipse 46"/>
          <p:cNvSpPr/>
          <p:nvPr/>
        </p:nvSpPr>
        <p:spPr bwMode="auto">
          <a:xfrm>
            <a:off x="10572750" y="491296"/>
            <a:ext cx="269875" cy="257175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8" name="Ellipse 47"/>
          <p:cNvSpPr/>
          <p:nvPr/>
        </p:nvSpPr>
        <p:spPr bwMode="auto">
          <a:xfrm>
            <a:off x="11133137" y="491296"/>
            <a:ext cx="269875" cy="257175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9" name="Flussdiagramm: Prozess 48"/>
          <p:cNvSpPr/>
          <p:nvPr/>
        </p:nvSpPr>
        <p:spPr bwMode="auto">
          <a:xfrm>
            <a:off x="8953500" y="183321"/>
            <a:ext cx="900112" cy="223838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Datum</a:t>
            </a:r>
          </a:p>
        </p:txBody>
      </p:sp>
      <p:sp>
        <p:nvSpPr>
          <p:cNvPr id="50" name="Flussdiagramm: Prozess 49"/>
          <p:cNvSpPr/>
          <p:nvPr/>
        </p:nvSpPr>
        <p:spPr bwMode="auto">
          <a:xfrm>
            <a:off x="10466253" y="183321"/>
            <a:ext cx="514616" cy="215900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S 2</a:t>
            </a:r>
          </a:p>
        </p:txBody>
      </p:sp>
      <p:sp>
        <p:nvSpPr>
          <p:cNvPr id="51" name="Flussdiagramm: Prozess 50"/>
          <p:cNvSpPr/>
          <p:nvPr/>
        </p:nvSpPr>
        <p:spPr bwMode="auto">
          <a:xfrm>
            <a:off x="11022805" y="183321"/>
            <a:ext cx="490538" cy="215900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S 3</a:t>
            </a:r>
          </a:p>
        </p:txBody>
      </p:sp>
      <p:sp>
        <p:nvSpPr>
          <p:cNvPr id="40" name="Rechteck 39"/>
          <p:cNvSpPr/>
          <p:nvPr/>
        </p:nvSpPr>
        <p:spPr bwMode="auto">
          <a:xfrm>
            <a:off x="7893050" y="183321"/>
            <a:ext cx="1030287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r>
              <a:rPr lang="de-DE" sz="1000" i="1" dirty="0">
                <a:solidFill>
                  <a:schemeClr val="tx2"/>
                </a:solidFill>
              </a:rPr>
              <a:t>Berichts-zeitraum</a:t>
            </a:r>
          </a:p>
        </p:txBody>
      </p:sp>
      <p:sp>
        <p:nvSpPr>
          <p:cNvPr id="41" name="Flussdiagramm: Prozess 40"/>
          <p:cNvSpPr/>
          <p:nvPr/>
        </p:nvSpPr>
        <p:spPr bwMode="auto">
          <a:xfrm>
            <a:off x="7893050" y="183321"/>
            <a:ext cx="1030287" cy="223838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Bericht-ZR</a:t>
            </a:r>
          </a:p>
        </p:txBody>
      </p:sp>
      <p:sp>
        <p:nvSpPr>
          <p:cNvPr id="30" name="Rechteck 29"/>
          <p:cNvSpPr/>
          <p:nvPr/>
        </p:nvSpPr>
        <p:spPr bwMode="auto">
          <a:xfrm>
            <a:off x="6829425" y="175383"/>
            <a:ext cx="1030287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r>
              <a:rPr lang="de-DE" sz="1000" i="1" dirty="0">
                <a:solidFill>
                  <a:schemeClr val="tx2"/>
                </a:solidFill>
              </a:rPr>
              <a:t>Name des/der Erstellers/in</a:t>
            </a:r>
          </a:p>
        </p:txBody>
      </p:sp>
      <p:sp>
        <p:nvSpPr>
          <p:cNvPr id="31" name="Flussdiagramm: Prozess 30"/>
          <p:cNvSpPr/>
          <p:nvPr/>
        </p:nvSpPr>
        <p:spPr bwMode="auto">
          <a:xfrm>
            <a:off x="6829425" y="175383"/>
            <a:ext cx="1030287" cy="223838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929940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828675" y="415570"/>
            <a:ext cx="10367963" cy="648512"/>
          </a:xfrm>
        </p:spPr>
        <p:txBody>
          <a:bodyPr/>
          <a:lstStyle/>
          <a:p>
            <a:pPr defTabSz="895306">
              <a:spcAft>
                <a:spcPts val="0"/>
              </a:spcAft>
              <a:defRPr/>
            </a:pPr>
            <a:r>
              <a:rPr lang="de-DE" sz="4000" dirty="0"/>
              <a:t>Erläuterung der Ampel</a:t>
            </a:r>
          </a:p>
        </p:txBody>
      </p:sp>
      <p:sp>
        <p:nvSpPr>
          <p:cNvPr id="5" name="Rechteck 4"/>
          <p:cNvSpPr/>
          <p:nvPr/>
        </p:nvSpPr>
        <p:spPr>
          <a:xfrm>
            <a:off x="937044" y="1425708"/>
            <a:ext cx="1631950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" name="Flussdiagramm: Prozess 5"/>
          <p:cNvSpPr/>
          <p:nvPr/>
        </p:nvSpPr>
        <p:spPr>
          <a:xfrm>
            <a:off x="937044" y="1425708"/>
            <a:ext cx="1631950" cy="215900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eilenstein X</a:t>
            </a:r>
          </a:p>
        </p:txBody>
      </p:sp>
      <p:sp>
        <p:nvSpPr>
          <p:cNvPr id="7" name="Ellipse 6"/>
          <p:cNvSpPr/>
          <p:nvPr/>
        </p:nvSpPr>
        <p:spPr>
          <a:xfrm>
            <a:off x="1057694" y="1733683"/>
            <a:ext cx="269875" cy="257175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1618082" y="1733683"/>
            <a:ext cx="269875" cy="2571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2178469" y="1733683"/>
            <a:ext cx="269875" cy="2571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37044" y="2675050"/>
            <a:ext cx="1631950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1" name="Flussdiagramm: Prozess 10"/>
          <p:cNvSpPr/>
          <p:nvPr/>
        </p:nvSpPr>
        <p:spPr>
          <a:xfrm>
            <a:off x="937044" y="2675050"/>
            <a:ext cx="1631950" cy="215900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eilenstein X</a:t>
            </a:r>
          </a:p>
        </p:txBody>
      </p:sp>
      <p:sp>
        <p:nvSpPr>
          <p:cNvPr id="12" name="Ellipse 11"/>
          <p:cNvSpPr/>
          <p:nvPr/>
        </p:nvSpPr>
        <p:spPr>
          <a:xfrm>
            <a:off x="1057694" y="2983025"/>
            <a:ext cx="269875" cy="25558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1618082" y="2983025"/>
            <a:ext cx="269875" cy="257175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2178469" y="2983025"/>
            <a:ext cx="269875" cy="255588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937044" y="4038107"/>
            <a:ext cx="1631950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6" name="Flussdiagramm: Prozess 15"/>
          <p:cNvSpPr/>
          <p:nvPr/>
        </p:nvSpPr>
        <p:spPr>
          <a:xfrm>
            <a:off x="937044" y="4038107"/>
            <a:ext cx="1631950" cy="214313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eilenstein X</a:t>
            </a:r>
          </a:p>
        </p:txBody>
      </p:sp>
      <p:sp>
        <p:nvSpPr>
          <p:cNvPr id="17" name="Ellipse 16"/>
          <p:cNvSpPr/>
          <p:nvPr/>
        </p:nvSpPr>
        <p:spPr>
          <a:xfrm>
            <a:off x="1057694" y="4346082"/>
            <a:ext cx="269875" cy="255588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1618082" y="4346082"/>
            <a:ext cx="269875" cy="2571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2178469" y="4346082"/>
            <a:ext cx="269875" cy="255588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2996032" y="1456478"/>
            <a:ext cx="35862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sz="1400" b="1" dirty="0">
                <a:latin typeface="+mn-lt"/>
                <a:ea typeface="+mn-ea"/>
              </a:rPr>
              <a:t>Erläuterung: </a:t>
            </a:r>
          </a:p>
          <a:p>
            <a:pPr eaLnBrk="1" hangingPunct="1">
              <a:defRPr/>
            </a:pPr>
            <a:r>
              <a:rPr lang="de-DE" sz="1400" dirty="0">
                <a:latin typeface="+mn-lt"/>
                <a:ea typeface="+mn-ea"/>
              </a:rPr>
              <a:t>Nächster Meilenstein ist nicht gefährdet.</a:t>
            </a:r>
          </a:p>
        </p:txBody>
      </p:sp>
      <p:sp>
        <p:nvSpPr>
          <p:cNvPr id="22" name="Rechteck 21"/>
          <p:cNvSpPr/>
          <p:nvPr/>
        </p:nvSpPr>
        <p:spPr>
          <a:xfrm>
            <a:off x="2996030" y="2383218"/>
            <a:ext cx="513162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sz="1400" b="1" dirty="0">
                <a:latin typeface="+mn-lt"/>
                <a:ea typeface="+mn-ea"/>
              </a:rPr>
              <a:t>Erläuterung: </a:t>
            </a:r>
          </a:p>
          <a:p>
            <a:pPr eaLnBrk="1" hangingPunct="1">
              <a:defRPr/>
            </a:pPr>
            <a:r>
              <a:rPr lang="de-DE" sz="1400" dirty="0">
                <a:latin typeface="+mn-lt"/>
                <a:ea typeface="+mn-ea"/>
              </a:rPr>
              <a:t>Das planmäßige Erreichen des nächsten Meilensteins ist gefährdet.  Das </a:t>
            </a:r>
            <a:r>
              <a:rPr lang="de-DE" sz="1400" b="1" dirty="0">
                <a:latin typeface="+mn-lt"/>
                <a:ea typeface="+mn-ea"/>
              </a:rPr>
              <a:t>Risiko</a:t>
            </a:r>
            <a:r>
              <a:rPr lang="de-DE" sz="1400" dirty="0">
                <a:latin typeface="+mn-lt"/>
                <a:ea typeface="+mn-ea"/>
              </a:rPr>
              <a:t> ist eskaliert und Maßnahmen zur </a:t>
            </a:r>
            <a:r>
              <a:rPr lang="de-DE" sz="1400" dirty="0" err="1">
                <a:latin typeface="+mn-lt"/>
                <a:ea typeface="+mn-ea"/>
              </a:rPr>
              <a:t>Mitigation</a:t>
            </a:r>
            <a:r>
              <a:rPr lang="de-DE" sz="1400" dirty="0">
                <a:latin typeface="+mn-lt"/>
                <a:ea typeface="+mn-ea"/>
              </a:rPr>
              <a:t> sind definiert / werden umgesetzt. Vorerst kein weiterer Handlungsbedarf notwendig. </a:t>
            </a:r>
          </a:p>
        </p:txBody>
      </p:sp>
      <p:sp>
        <p:nvSpPr>
          <p:cNvPr id="23" name="Rechteck 22"/>
          <p:cNvSpPr/>
          <p:nvPr/>
        </p:nvSpPr>
        <p:spPr>
          <a:xfrm>
            <a:off x="2996825" y="3828904"/>
            <a:ext cx="51300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sz="1400" b="1" dirty="0">
                <a:latin typeface="+mn-lt"/>
                <a:ea typeface="+mn-ea"/>
              </a:rPr>
              <a:t>Erläuterung: </a:t>
            </a:r>
          </a:p>
          <a:p>
            <a:pPr eaLnBrk="1" hangingPunct="1">
              <a:defRPr/>
            </a:pPr>
            <a:r>
              <a:rPr lang="de-DE" sz="1400" dirty="0">
                <a:latin typeface="+mn-lt"/>
                <a:ea typeface="+mn-ea"/>
              </a:rPr>
              <a:t>Das planmäßige Erreichen des nächster Meilensteins ist nicht möglich. Das Risiko wird zu einem </a:t>
            </a:r>
            <a:r>
              <a:rPr lang="de-DE" sz="1400" b="1" dirty="0">
                <a:latin typeface="+mn-lt"/>
                <a:ea typeface="+mn-ea"/>
              </a:rPr>
              <a:t>Problem</a:t>
            </a:r>
            <a:r>
              <a:rPr lang="de-DE" sz="1400" dirty="0">
                <a:latin typeface="+mn-lt"/>
                <a:ea typeface="+mn-ea"/>
              </a:rPr>
              <a:t>. Durch Eskalation ist der Umgang mit dem Problem definiert.</a:t>
            </a:r>
          </a:p>
        </p:txBody>
      </p:sp>
      <p:cxnSp>
        <p:nvCxnSpPr>
          <p:cNvPr id="25" name="Gerade Verbindung mit Pfeil 24"/>
          <p:cNvCxnSpPr/>
          <p:nvPr/>
        </p:nvCxnSpPr>
        <p:spPr>
          <a:xfrm flipV="1">
            <a:off x="8129241" y="2709975"/>
            <a:ext cx="392112" cy="2730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>
            <a:off x="8129241" y="2983025"/>
            <a:ext cx="392112" cy="2746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/>
          <p:cNvSpPr/>
          <p:nvPr/>
        </p:nvSpPr>
        <p:spPr>
          <a:xfrm>
            <a:off x="8554691" y="2027612"/>
            <a:ext cx="1914525" cy="938213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1100" dirty="0">
                <a:latin typeface="+mn-lt"/>
                <a:ea typeface="+mn-ea"/>
              </a:rPr>
              <a:t>Wird eine Lösung gefunden, kann die Ampel im Einvernehmen mit dem </a:t>
            </a:r>
            <a:br>
              <a:rPr lang="de-DE" sz="1100" dirty="0">
                <a:latin typeface="+mn-lt"/>
                <a:ea typeface="+mn-ea"/>
              </a:rPr>
            </a:br>
            <a:r>
              <a:rPr lang="de-DE" sz="1100" dirty="0">
                <a:latin typeface="+mn-lt"/>
                <a:ea typeface="+mn-ea"/>
              </a:rPr>
              <a:t>U-Land und dem Bund wieder auf </a:t>
            </a:r>
            <a:r>
              <a:rPr lang="de-DE" sz="1100" dirty="0">
                <a:solidFill>
                  <a:schemeClr val="accent1"/>
                </a:solidFill>
                <a:latin typeface="+mn-lt"/>
                <a:ea typeface="+mn-ea"/>
              </a:rPr>
              <a:t>grün</a:t>
            </a:r>
            <a:r>
              <a:rPr lang="de-DE" sz="1100" dirty="0">
                <a:latin typeface="+mn-lt"/>
                <a:ea typeface="+mn-ea"/>
              </a:rPr>
              <a:t> gestellt werden</a:t>
            </a:r>
            <a:endParaRPr lang="de-DE" sz="1100" dirty="0">
              <a:latin typeface="Arial" charset="0"/>
              <a:ea typeface="+mn-ea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8554691" y="3038587"/>
            <a:ext cx="1914525" cy="938213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1100" dirty="0">
                <a:latin typeface="+mn-lt"/>
                <a:ea typeface="+mn-ea"/>
              </a:rPr>
              <a:t>Wird keine Lösung gefunden, wird die Ampel im Einvernehmen mit dem </a:t>
            </a:r>
            <a:br>
              <a:rPr lang="de-DE" sz="1100" dirty="0">
                <a:latin typeface="+mn-lt"/>
                <a:ea typeface="+mn-ea"/>
              </a:rPr>
            </a:br>
            <a:r>
              <a:rPr lang="de-DE" sz="1100" dirty="0">
                <a:latin typeface="+mn-lt"/>
                <a:ea typeface="+mn-ea"/>
              </a:rPr>
              <a:t>U-Land und dem Bund </a:t>
            </a:r>
            <a:br>
              <a:rPr lang="de-DE" sz="1100" dirty="0">
                <a:latin typeface="+mn-lt"/>
                <a:ea typeface="+mn-ea"/>
              </a:rPr>
            </a:br>
            <a:r>
              <a:rPr lang="de-DE" sz="1100" dirty="0">
                <a:latin typeface="+mn-lt"/>
                <a:ea typeface="+mn-ea"/>
              </a:rPr>
              <a:t>auf </a:t>
            </a:r>
            <a:r>
              <a:rPr lang="de-DE" sz="1100" dirty="0">
                <a:solidFill>
                  <a:schemeClr val="accent3"/>
                </a:solidFill>
                <a:latin typeface="+mn-lt"/>
                <a:ea typeface="+mn-ea"/>
              </a:rPr>
              <a:t>rot </a:t>
            </a:r>
            <a:r>
              <a:rPr lang="de-DE" sz="1100" dirty="0">
                <a:latin typeface="+mn-lt"/>
                <a:ea typeface="+mn-ea"/>
              </a:rPr>
              <a:t>gesetzt.</a:t>
            </a:r>
            <a:endParaRPr lang="de-DE" sz="1100" dirty="0">
              <a:latin typeface="Arial" charset="0"/>
              <a:ea typeface="+mn-ea"/>
            </a:endParaRPr>
          </a:p>
        </p:txBody>
      </p:sp>
      <p:cxnSp>
        <p:nvCxnSpPr>
          <p:cNvPr id="27" name="Gerade Verbindung mit Pfeil 26"/>
          <p:cNvCxnSpPr/>
          <p:nvPr/>
        </p:nvCxnSpPr>
        <p:spPr>
          <a:xfrm flipV="1">
            <a:off x="8121135" y="4454169"/>
            <a:ext cx="394960" cy="449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30"/>
          <p:cNvSpPr/>
          <p:nvPr/>
        </p:nvSpPr>
        <p:spPr>
          <a:xfrm>
            <a:off x="8519769" y="4026533"/>
            <a:ext cx="247039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sz="1100" dirty="0">
                <a:latin typeface="+mn-lt"/>
                <a:ea typeface="+mn-ea"/>
              </a:rPr>
              <a:t>Wird im Einvernehmen mit dem Bund das Problem akzeptiert (z.B. zeitliche Verschiebung der Meilensteine, Budgetanpassung, Qualitätsanpassung) kann die Ampel mit </a:t>
            </a:r>
            <a:r>
              <a:rPr lang="de-DE" sz="1100" dirty="0">
                <a:solidFill>
                  <a:srgbClr val="D77360"/>
                </a:solidFill>
                <a:latin typeface="+mn-lt"/>
                <a:ea typeface="+mn-ea"/>
              </a:rPr>
              <a:t>roter Umkreisung </a:t>
            </a:r>
            <a:r>
              <a:rPr lang="de-DE" sz="1100" dirty="0">
                <a:latin typeface="+mn-lt"/>
                <a:ea typeface="+mn-ea"/>
              </a:rPr>
              <a:t>wieder auf </a:t>
            </a:r>
            <a:r>
              <a:rPr lang="de-DE" sz="1100" dirty="0">
                <a:solidFill>
                  <a:schemeClr val="accent1"/>
                </a:solidFill>
                <a:latin typeface="+mn-lt"/>
                <a:ea typeface="+mn-ea"/>
              </a:rPr>
              <a:t>grün</a:t>
            </a:r>
            <a:r>
              <a:rPr lang="de-DE" sz="1100" dirty="0">
                <a:latin typeface="+mn-lt"/>
                <a:ea typeface="+mn-ea"/>
              </a:rPr>
              <a:t> gesetzt werden.</a:t>
            </a:r>
            <a:endParaRPr lang="de-DE" sz="1100" dirty="0">
              <a:latin typeface="Arial" charset="0"/>
              <a:ea typeface="+mn-ea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8793983" y="5182778"/>
            <a:ext cx="1631950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6" name="Flussdiagramm: Prozess 35"/>
          <p:cNvSpPr/>
          <p:nvPr/>
        </p:nvSpPr>
        <p:spPr>
          <a:xfrm>
            <a:off x="8793983" y="5182778"/>
            <a:ext cx="1631950" cy="215900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Meilenstein X</a:t>
            </a:r>
          </a:p>
        </p:txBody>
      </p:sp>
      <p:sp>
        <p:nvSpPr>
          <p:cNvPr id="37" name="Ellipse 36"/>
          <p:cNvSpPr/>
          <p:nvPr/>
        </p:nvSpPr>
        <p:spPr>
          <a:xfrm>
            <a:off x="8914633" y="5490753"/>
            <a:ext cx="269875" cy="25717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8" name="Ellipse 37"/>
          <p:cNvSpPr/>
          <p:nvPr/>
        </p:nvSpPr>
        <p:spPr>
          <a:xfrm>
            <a:off x="9475021" y="5490753"/>
            <a:ext cx="269875" cy="2571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9" name="Ellipse 38"/>
          <p:cNvSpPr/>
          <p:nvPr/>
        </p:nvSpPr>
        <p:spPr>
          <a:xfrm>
            <a:off x="10035408" y="5490753"/>
            <a:ext cx="269875" cy="2571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828675" y="5271811"/>
            <a:ext cx="479935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sz="1100" b="1" dirty="0">
                <a:latin typeface="+mn-lt"/>
                <a:ea typeface="+mn-ea"/>
              </a:rPr>
              <a:t>Risiko</a:t>
            </a:r>
            <a:r>
              <a:rPr lang="de-DE" sz="1100" dirty="0">
                <a:latin typeface="+mn-lt"/>
                <a:ea typeface="+mn-ea"/>
              </a:rPr>
              <a:t>: Ein Ereignis, das wenn es eintritt, zu einer Beeinträchtigung von mindestens einem der Faktoren Zeit, Qualität oder Kosten führt.</a:t>
            </a:r>
            <a:endParaRPr lang="de-DE" sz="1100" dirty="0">
              <a:latin typeface="Arial" charset="0"/>
              <a:ea typeface="+mn-ea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828675" y="5702698"/>
            <a:ext cx="479935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de-DE" sz="1100" b="1" dirty="0">
                <a:latin typeface="+mn-lt"/>
                <a:ea typeface="+mn-ea"/>
              </a:rPr>
              <a:t>Problem</a:t>
            </a:r>
            <a:r>
              <a:rPr lang="de-DE" sz="1100" dirty="0">
                <a:latin typeface="Arial" charset="0"/>
                <a:ea typeface="+mn-ea"/>
              </a:rPr>
              <a:t>: </a:t>
            </a:r>
            <a:r>
              <a:rPr lang="de-DE" sz="1100" dirty="0">
                <a:latin typeface="+mn-lt"/>
                <a:ea typeface="+mn-ea"/>
              </a:rPr>
              <a:t>Ein Ereignis, das eingetreten ist oder sicher eintreten wird. </a:t>
            </a:r>
          </a:p>
        </p:txBody>
      </p:sp>
      <p:sp>
        <p:nvSpPr>
          <p:cNvPr id="43" name="Foliennummernplatzhalter 3"/>
          <p:cNvSpPr txBox="1">
            <a:spLocks/>
          </p:cNvSpPr>
          <p:nvPr/>
        </p:nvSpPr>
        <p:spPr>
          <a:xfrm>
            <a:off x="10922000" y="6521450"/>
            <a:ext cx="433388" cy="200025"/>
          </a:xfrm>
          <a:prstGeom prst="rect">
            <a:avLst/>
          </a:prstGeom>
        </p:spPr>
        <p:txBody>
          <a:bodyPr anchor="b" anchorCtr="0"/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0713" indent="-163513" algn="l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1243013" indent="-328613" algn="l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865313" indent="-493713" algn="l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2487613" indent="-658813" algn="l" rtl="0" eaLnBrk="0" fontAlgn="base" hangingPunct="0">
              <a:spcBef>
                <a:spcPct val="0"/>
              </a:spcBef>
              <a:spcAft>
                <a:spcPct val="0"/>
              </a:spcAft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defRPr/>
            </a:pPr>
            <a:fld id="{02E96A8F-6DAB-4EB7-BEB9-8B6CC7B5FA80}" type="slidenum">
              <a:rPr lang="aa-ET" smtClean="0"/>
              <a:pPr>
                <a:defRPr/>
              </a:pPr>
              <a:t>2</a:t>
            </a:fld>
            <a:endParaRPr lang="aa-ET" dirty="0"/>
          </a:p>
        </p:txBody>
      </p:sp>
      <p:sp>
        <p:nvSpPr>
          <p:cNvPr id="4" name="Textfeld 3"/>
          <p:cNvSpPr txBox="1"/>
          <p:nvPr/>
        </p:nvSpPr>
        <p:spPr bwMode="gray">
          <a:xfrm>
            <a:off x="937044" y="963286"/>
            <a:ext cx="6640484" cy="279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244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 algn="l">
              <a:buNone/>
            </a:pPr>
            <a:r>
              <a:rPr lang="de-DE" sz="1800" b="1" dirty="0">
                <a:latin typeface="+mn-lt"/>
              </a:rPr>
              <a:t>Qualitative Einschätzung durch Projektmanagement</a:t>
            </a:r>
          </a:p>
        </p:txBody>
      </p:sp>
    </p:spTree>
    <p:extLst>
      <p:ext uri="{BB962C8B-B14F-4D97-AF65-F5344CB8AC3E}">
        <p14:creationId xmlns:p14="http://schemas.microsoft.com/office/powerpoint/2010/main" val="1576408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kt 4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8" imgH="499" progId="TCLayout.ActiveDocument.1">
                  <p:embed/>
                </p:oleObj>
              </mc:Choice>
              <mc:Fallback>
                <p:oleObj name="think-cell Folie" r:id="rId3" imgW="498" imgH="499" progId="TCLayout.ActiveDocument.1">
                  <p:embed/>
                  <p:pic>
                    <p:nvPicPr>
                      <p:cNvPr id="45058" name="Objekt 4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2E96A8F-6DAB-4EB7-BEB9-8B6CC7B5FA80}" type="slidenum">
              <a:rPr lang="aa-ET"/>
              <a:pPr>
                <a:defRPr/>
              </a:pPr>
              <a:t>3</a:t>
            </a:fld>
            <a:endParaRPr lang="aa-ET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442913" y="279267"/>
            <a:ext cx="7483475" cy="648512"/>
          </a:xfrm>
        </p:spPr>
        <p:txBody>
          <a:bodyPr/>
          <a:lstStyle/>
          <a:p>
            <a:pPr defTabSz="895306">
              <a:spcAft>
                <a:spcPts val="0"/>
              </a:spcAft>
              <a:defRPr/>
            </a:pPr>
            <a:r>
              <a:rPr lang="de-DE" sz="2800" dirty="0"/>
              <a:t>Name Themenfeld</a:t>
            </a:r>
          </a:p>
          <a:p>
            <a:pPr defTabSz="895306">
              <a:spcAft>
                <a:spcPts val="0"/>
              </a:spcAft>
              <a:defRPr/>
            </a:pPr>
            <a:r>
              <a:rPr lang="de-DE" sz="1100" i="1" dirty="0">
                <a:solidFill>
                  <a:schemeClr val="accent1"/>
                </a:solidFill>
              </a:rPr>
              <a:t>Bitte nur auf UP mit wesentlichen Entwicklungen eingehen.</a:t>
            </a:r>
            <a:endParaRPr lang="de-DE" sz="1100" i="1" dirty="0"/>
          </a:p>
        </p:txBody>
      </p:sp>
      <p:graphicFrame>
        <p:nvGraphicFramePr>
          <p:cNvPr id="22" name="Tabel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482103"/>
              </p:ext>
            </p:extLst>
          </p:nvPr>
        </p:nvGraphicFramePr>
        <p:xfrm>
          <a:off x="442912" y="931863"/>
          <a:ext cx="5497200" cy="2725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200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4116">
                <a:tc>
                  <a:txBody>
                    <a:bodyPr/>
                    <a:lstStyle/>
                    <a:p>
                      <a:r>
                        <a:rPr lang="de-DE" sz="1200" dirty="0"/>
                        <a:t>Aktueller Stand im Themenfeld</a:t>
                      </a:r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401621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i="0" baseline="0" dirty="0"/>
                        <a:t>Beschreibung der wichtigsten </a:t>
                      </a:r>
                      <a:r>
                        <a:rPr lang="de-DE" sz="1000" i="0" baseline="0" dirty="0">
                          <a:solidFill>
                            <a:schemeClr val="tx2"/>
                          </a:solidFill>
                        </a:rPr>
                        <a:t>Aktivitäten/Ereignissen im </a:t>
                      </a:r>
                      <a:r>
                        <a:rPr lang="de-DE" sz="1000" i="0" baseline="0" dirty="0"/>
                        <a:t>Berichtszeitraum (Was ist im vergangenen Monat im TF passiert?)</a:t>
                      </a:r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23" name="Tabel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9979423"/>
              </p:ext>
            </p:extLst>
          </p:nvPr>
        </p:nvGraphicFramePr>
        <p:xfrm>
          <a:off x="6067426" y="927858"/>
          <a:ext cx="5497512" cy="2729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2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4592">
                <a:tc>
                  <a:txBody>
                    <a:bodyPr/>
                    <a:lstStyle/>
                    <a:p>
                      <a:r>
                        <a:rPr lang="de-DE" sz="1200" dirty="0"/>
                        <a:t>Nächste</a:t>
                      </a:r>
                      <a:r>
                        <a:rPr lang="de-DE" sz="1200" baseline="0" dirty="0"/>
                        <a:t> Schritte im Themenfeld</a:t>
                      </a:r>
                      <a:endParaRPr lang="de-DE" sz="1200" dirty="0"/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40515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/>
                        <a:t>Beschreibung</a:t>
                      </a:r>
                      <a:r>
                        <a:rPr lang="de-DE" sz="1000" baseline="0" dirty="0"/>
                        <a:t> der wichtigsten Aktivitäten für den anstehenden Berichtszeitraum (Was sind die nächsten Schritte?)</a:t>
                      </a:r>
                      <a:endParaRPr lang="de-DE" sz="1000" dirty="0"/>
                    </a:p>
                  </a:txBody>
                  <a:tcPr marL="91459" marR="91459" marT="45690" marB="456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24" name="Tabel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205079"/>
              </p:ext>
            </p:extLst>
          </p:nvPr>
        </p:nvGraphicFramePr>
        <p:xfrm>
          <a:off x="447675" y="3782744"/>
          <a:ext cx="3641725" cy="26603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1725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2640">
                <a:tc>
                  <a:txBody>
                    <a:bodyPr/>
                    <a:lstStyle/>
                    <a:p>
                      <a:r>
                        <a:rPr lang="de-DE" sz="1200" dirty="0"/>
                        <a:t>Entscheidungsbedarfe / Risiken im Themenfeld</a:t>
                      </a:r>
                    </a:p>
                  </a:txBody>
                  <a:tcPr marL="91459" marR="91459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33775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/>
                        <a:t>Beschreibung</a:t>
                      </a:r>
                      <a:r>
                        <a:rPr lang="de-DE" sz="1000" baseline="0" dirty="0"/>
                        <a:t> von Entscheidungsbedarfen / Risiken, die eine Herausforderung darstellen, aber projektintern geklärt werden können. </a:t>
                      </a:r>
                      <a:endParaRPr lang="de-DE" sz="1000" dirty="0"/>
                    </a:p>
                  </a:txBody>
                  <a:tcPr marL="91459" marR="91459" marT="45713" marB="4571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25" name="Tabel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0206"/>
              </p:ext>
            </p:extLst>
          </p:nvPr>
        </p:nvGraphicFramePr>
        <p:xfrm>
          <a:off x="4186237" y="3782744"/>
          <a:ext cx="3640138" cy="26603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0138">
                  <a:extLst>
                    <a:ext uri="{9D8B030D-6E8A-4147-A177-3AD203B41FA5}">
                      <a16:colId xmlns:a16="http://schemas.microsoft.com/office/drawing/2014/main" val="617096885"/>
                    </a:ext>
                  </a:extLst>
                </a:gridCol>
              </a:tblGrid>
              <a:tr h="322640">
                <a:tc>
                  <a:txBody>
                    <a:bodyPr/>
                    <a:lstStyle/>
                    <a:p>
                      <a:r>
                        <a:rPr lang="de-DE" sz="1200" dirty="0"/>
                        <a:t>Entscheidungsbedarfe / Risiken: TF-JF</a:t>
                      </a:r>
                    </a:p>
                  </a:txBody>
                  <a:tcPr marL="91419" marR="91419" marT="45713" marB="45713"/>
                </a:tc>
                <a:extLst>
                  <a:ext uri="{0D108BD9-81ED-4DB2-BD59-A6C34878D82A}">
                    <a16:rowId xmlns:a16="http://schemas.microsoft.com/office/drawing/2014/main" val="450507101"/>
                  </a:ext>
                </a:extLst>
              </a:tr>
              <a:tr h="2337749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de-DE" sz="1000" dirty="0"/>
                        <a:t>Beschreibung</a:t>
                      </a:r>
                      <a:r>
                        <a:rPr lang="de-DE" sz="1000" baseline="0" dirty="0"/>
                        <a:t> von </a:t>
                      </a:r>
                      <a:r>
                        <a:rPr lang="de-DE" sz="1000" baseline="0" dirty="0">
                          <a:solidFill>
                            <a:schemeClr val="tx2"/>
                          </a:solidFill>
                        </a:rPr>
                        <a:t>Entscheidungsbedarfen / Risiken, die eine Einbindung des Bundes oder des PMGT erfordern</a:t>
                      </a:r>
                      <a:r>
                        <a:rPr lang="de-DE" sz="1000" baseline="0" dirty="0"/>
                        <a:t>. </a:t>
                      </a:r>
                      <a:endParaRPr lang="de-DE" sz="1000" dirty="0"/>
                    </a:p>
                  </a:txBody>
                  <a:tcPr marL="91419" marR="91419" marT="45713" marB="45713"/>
                </a:tc>
                <a:extLst>
                  <a:ext uri="{0D108BD9-81ED-4DB2-BD59-A6C34878D82A}">
                    <a16:rowId xmlns:a16="http://schemas.microsoft.com/office/drawing/2014/main" val="2386815889"/>
                  </a:ext>
                </a:extLst>
              </a:tr>
            </a:tbl>
          </a:graphicData>
        </a:graphic>
      </p:graphicFrame>
      <p:graphicFrame>
        <p:nvGraphicFramePr>
          <p:cNvPr id="44" name="Tabel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19963"/>
              </p:ext>
            </p:extLst>
          </p:nvPr>
        </p:nvGraphicFramePr>
        <p:xfrm>
          <a:off x="7923212" y="3791628"/>
          <a:ext cx="3643312" cy="2651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3312">
                  <a:extLst>
                    <a:ext uri="{9D8B030D-6E8A-4147-A177-3AD203B41FA5}">
                      <a16:colId xmlns:a16="http://schemas.microsoft.com/office/drawing/2014/main" val="2040531885"/>
                    </a:ext>
                  </a:extLst>
                </a:gridCol>
              </a:tblGrid>
              <a:tr h="320928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tx2"/>
                          </a:solidFill>
                        </a:rPr>
                        <a:t>Themenfeldübergreifender</a:t>
                      </a:r>
                      <a:r>
                        <a:rPr lang="de-DE" sz="1200" baseline="0" dirty="0">
                          <a:solidFill>
                            <a:schemeClr val="tx2"/>
                          </a:solidFill>
                        </a:rPr>
                        <a:t> Status</a:t>
                      </a:r>
                      <a:endParaRPr lang="de-DE" sz="1200" dirty="0">
                        <a:solidFill>
                          <a:schemeClr val="tx2"/>
                        </a:solidFill>
                      </a:endParaRPr>
                    </a:p>
                  </a:txBody>
                  <a:tcPr marL="91448" marR="91448" marT="45733" marB="45733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5753989"/>
                  </a:ext>
                </a:extLst>
              </a:tr>
              <a:tr h="2330577">
                <a:tc>
                  <a:txBody>
                    <a:bodyPr/>
                    <a:lstStyle/>
                    <a:p>
                      <a:pPr algn="l"/>
                      <a:r>
                        <a:rPr lang="de-DE" sz="1000" dirty="0">
                          <a:solidFill>
                            <a:schemeClr val="tx2"/>
                          </a:solidFill>
                        </a:rPr>
                        <a:t>Ziehen</a:t>
                      </a:r>
                      <a:r>
                        <a:rPr lang="de-DE" sz="1000" baseline="0" dirty="0">
                          <a:solidFill>
                            <a:schemeClr val="tx2"/>
                          </a:solidFill>
                        </a:rPr>
                        <a:t> Sie ein kurzes Fazit bspw. hinsichtlich abweichender Zeitplanung, Finanzplanung, Ressourcenplanung oder Mängel bei wichtigen Liefergegenständen. </a:t>
                      </a:r>
                      <a:endParaRPr lang="de-DE" sz="1000" dirty="0">
                        <a:solidFill>
                          <a:schemeClr val="tx2"/>
                        </a:solidFill>
                      </a:endParaRPr>
                    </a:p>
                  </a:txBody>
                  <a:tcPr marL="91448" marR="91448" marT="45733" marB="45733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199770"/>
                  </a:ext>
                </a:extLst>
              </a:tr>
            </a:tbl>
          </a:graphicData>
        </a:graphic>
      </p:graphicFrame>
      <p:sp>
        <p:nvSpPr>
          <p:cNvPr id="15" name="Rechteck 14"/>
          <p:cNvSpPr/>
          <p:nvPr/>
        </p:nvSpPr>
        <p:spPr bwMode="auto">
          <a:xfrm>
            <a:off x="10650560" y="183321"/>
            <a:ext cx="896936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r>
              <a:rPr lang="de-DE" sz="1050" i="1" dirty="0">
                <a:solidFill>
                  <a:schemeClr val="tx2"/>
                </a:solidFill>
              </a:rPr>
              <a:t>Erstellungs-datum</a:t>
            </a:r>
          </a:p>
        </p:txBody>
      </p:sp>
      <p:sp>
        <p:nvSpPr>
          <p:cNvPr id="16" name="Flussdiagramm: Prozess 15"/>
          <p:cNvSpPr/>
          <p:nvPr/>
        </p:nvSpPr>
        <p:spPr bwMode="auto">
          <a:xfrm>
            <a:off x="10647385" y="183321"/>
            <a:ext cx="900112" cy="223838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Datum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9586935" y="183321"/>
            <a:ext cx="1030287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r>
              <a:rPr lang="de-DE" sz="1000" i="1" dirty="0">
                <a:solidFill>
                  <a:schemeClr val="tx2"/>
                </a:solidFill>
              </a:rPr>
              <a:t>Berichts-zeitraum</a:t>
            </a:r>
          </a:p>
        </p:txBody>
      </p:sp>
      <p:sp>
        <p:nvSpPr>
          <p:cNvPr id="18" name="Flussdiagramm: Prozess 17"/>
          <p:cNvSpPr/>
          <p:nvPr/>
        </p:nvSpPr>
        <p:spPr bwMode="auto">
          <a:xfrm>
            <a:off x="9586935" y="183321"/>
            <a:ext cx="1030287" cy="223838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Bericht-ZR</a:t>
            </a:r>
          </a:p>
        </p:txBody>
      </p:sp>
      <p:sp>
        <p:nvSpPr>
          <p:cNvPr id="19" name="Rechteck 18"/>
          <p:cNvSpPr/>
          <p:nvPr/>
        </p:nvSpPr>
        <p:spPr bwMode="auto">
          <a:xfrm>
            <a:off x="8523310" y="175383"/>
            <a:ext cx="1030287" cy="6588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anchor="ctr"/>
          <a:lstStyle/>
          <a:p>
            <a:pPr algn="ctr" eaLnBrk="1" hangingPunct="1">
              <a:defRPr/>
            </a:pPr>
            <a:r>
              <a:rPr lang="de-DE" sz="1000" i="1" dirty="0">
                <a:solidFill>
                  <a:schemeClr val="tx2"/>
                </a:solidFill>
              </a:rPr>
              <a:t>Name des/der Erstellers/in</a:t>
            </a:r>
          </a:p>
        </p:txBody>
      </p:sp>
      <p:sp>
        <p:nvSpPr>
          <p:cNvPr id="20" name="Flussdiagramm: Prozess 19"/>
          <p:cNvSpPr/>
          <p:nvPr/>
        </p:nvSpPr>
        <p:spPr bwMode="auto">
          <a:xfrm>
            <a:off x="8523310" y="175383"/>
            <a:ext cx="1030287" cy="223838"/>
          </a:xfrm>
          <a:prstGeom prst="flowChartProcess">
            <a:avLst/>
          </a:prstGeom>
          <a:solidFill>
            <a:srgbClr val="004B65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kern="0" dirty="0">
                <a:solidFill>
                  <a:srgbClr val="FFFFFF"/>
                </a:solidFill>
                <a:latin typeface="+mn-lt"/>
                <a:ea typeface="+mn-ea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517097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Michael Hantzsche\Box Sync\Digitalisierungsprogramm OZG\1 Working docs\9 Reach and Relevance\2 Events\1 DE\4 Fachkongress IT PLR\1 Planung\190218_Fachkongress IT PLR_Benötigte Artefakte je Leistung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.ucSgzMQzLLRHUXIT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.ucSgzMQzLLRHUXIT0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_rNgIZSQKgz5zAu75Oo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qYKl4mQ4qS_gyFbMBWcQ"/>
</p:tagLst>
</file>

<file path=ppt/theme/theme1.xml><?xml version="1.0" encoding="utf-8"?>
<a:theme xmlns:a="http://schemas.openxmlformats.org/drawingml/2006/main" name="13_DE_BE1154_16x9_CF3">
  <a:themeElements>
    <a:clrScheme name="OZG-Farben">
      <a:dk1>
        <a:srgbClr val="004B76"/>
      </a:dk1>
      <a:lt1>
        <a:sysClr val="window" lastClr="FFFFFF"/>
      </a:lt1>
      <a:dk2>
        <a:srgbClr val="004B76"/>
      </a:dk2>
      <a:lt2>
        <a:srgbClr val="80CDEC"/>
      </a:lt2>
      <a:accent1>
        <a:srgbClr val="66B692"/>
      </a:accent1>
      <a:accent2>
        <a:srgbClr val="F7BB3D"/>
      </a:accent2>
      <a:accent3>
        <a:srgbClr val="D77360"/>
      </a:accent3>
      <a:accent4>
        <a:srgbClr val="FFC000"/>
      </a:accent4>
      <a:accent5>
        <a:srgbClr val="000000"/>
      </a:accent5>
      <a:accent6>
        <a:srgbClr val="FFFFFF"/>
      </a:accent6>
      <a:hlink>
        <a:srgbClr val="D77360"/>
      </a:hlink>
      <a:folHlink>
        <a:srgbClr val="D77360"/>
      </a:folHlink>
    </a:clrScheme>
    <a:fontScheme name="OZG-Master">
      <a:majorFont>
        <a:latin typeface="BundesSans Bold"/>
        <a:ea typeface="ＭＳ Ｐゴシック"/>
        <a:cs typeface=""/>
      </a:majorFont>
      <a:minorFont>
        <a:latin typeface="BundesSans Regular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2448" numCol="1" rtlCol="0" anchor="t" anchorCtr="0" compatLnSpc="1">
        <a:prstTxWarp prst="textNoShape">
          <a:avLst/>
        </a:prstTxWarp>
        <a:spAutoFit/>
      </a:bodyPr>
      <a:lstStyle>
        <a:defPPr marL="0" indent="0" algn="l">
          <a:buNone/>
          <a:defRPr sz="2800" b="1" dirty="0" smtClean="0">
            <a:latin typeface="+mn-lt"/>
          </a:defRPr>
        </a:defPPr>
      </a:lstStyle>
    </a:txDef>
  </a:objectDefaults>
  <a:extraClrSchemeLst>
    <a:extraClrScheme>
      <a:clrScheme name="13_DE_BE1154_16x9_CF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CB45A"/>
        </a:accent1>
        <a:accent2>
          <a:srgbClr val="72BFC5"/>
        </a:accent2>
        <a:accent3>
          <a:srgbClr val="FFFFFF"/>
        </a:accent3>
        <a:accent4>
          <a:srgbClr val="000000"/>
        </a:accent4>
        <a:accent5>
          <a:srgbClr val="EBD6B5"/>
        </a:accent5>
        <a:accent6>
          <a:srgbClr val="67ADB2"/>
        </a:accent6>
        <a:hlink>
          <a:srgbClr val="337299"/>
        </a:hlink>
        <a:folHlink>
          <a:srgbClr val="506E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996633"/>
    </a:custClr>
    <a:custClr name="Custom Color 2">
      <a:srgbClr val="D24150"/>
    </a:custClr>
    <a:custClr name="Custom Color 3">
      <a:srgbClr val="004F80"/>
    </a:custClr>
    <a:custClr name="Custom Color 4">
      <a:srgbClr val="A8A8B9"/>
    </a:custClr>
    <a:custClr name="Custom Color 5">
      <a:srgbClr val="61A4D4"/>
    </a:custClr>
    <a:custClr name="Custom Color 6">
      <a:srgbClr val="BBE0E3"/>
    </a:custClr>
    <a:custClr name="Custom Color 7">
      <a:srgbClr val="333399"/>
    </a:custClr>
    <a:custClr name="Custom Color 8">
      <a:srgbClr val="DAEDEF"/>
    </a:custClr>
    <a:custClr name="Custom Color 9">
      <a:srgbClr val="2D2D8A"/>
    </a:custClr>
  </a:custClrLst>
  <a:extLst>
    <a:ext uri="{05A4C25C-085E-4340-85A3-A5531E510DB2}">
      <thm15:themeFamily xmlns:thm15="http://schemas.microsoft.com/office/thememl/2012/main" name="DE_BE1154_16x9_CF3.potx [Read-Only]" id="{13CEBAD3-9DD9-40C7-9904-FEC1EAD80033}" vid="{F2430F8C-F11F-4308-94A9-722AC0B6B02E}"/>
    </a:ext>
  </a:extLst>
</a:theme>
</file>

<file path=ppt/theme/theme2.xml><?xml version="1.0" encoding="utf-8"?>
<a:theme xmlns:a="http://schemas.openxmlformats.org/drawingml/2006/main" name="5_White_DE_0286RP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4B76"/>
      </a:accent1>
      <a:accent2>
        <a:srgbClr val="F7BB3D"/>
      </a:accent2>
      <a:accent3>
        <a:srgbClr val="66B692"/>
      </a:accent3>
      <a:accent4>
        <a:srgbClr val="D77360"/>
      </a:accent4>
      <a:accent5>
        <a:srgbClr val="DAEDEF"/>
      </a:accent5>
      <a:accent6>
        <a:srgbClr val="80CDEC"/>
      </a:accent6>
      <a:hlink>
        <a:srgbClr val="0000FF"/>
      </a:hlink>
      <a:folHlink>
        <a:srgbClr val="800080"/>
      </a:folHlink>
    </a:clrScheme>
    <a:fontScheme name="Custom">
      <a:majorFont>
        <a:latin typeface="BundesSans Bold"/>
        <a:ea typeface=""/>
        <a:cs typeface=""/>
      </a:majorFont>
      <a:minorFont>
        <a:latin typeface="BundesSans Regula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4B76"/>
        </a:accent1>
        <a:accent2>
          <a:srgbClr val="F7BB3D"/>
        </a:accent2>
        <a:accent3>
          <a:srgbClr val="66B692"/>
        </a:accent3>
        <a:accent4>
          <a:srgbClr val="D77360"/>
        </a:accent4>
        <a:accent5>
          <a:srgbClr val="DAEDEF"/>
        </a:accent5>
        <a:accent6>
          <a:srgbClr val="80CDE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 1">
      <a:srgbClr val="996633"/>
    </a:custClr>
    <a:custClr name="Custom Color 2">
      <a:srgbClr val="D24150"/>
    </a:custClr>
    <a:custClr name="Custom Color 3">
      <a:srgbClr val="004F80"/>
    </a:custClr>
    <a:custClr name="Custom Color 4">
      <a:srgbClr val="A8A8B9"/>
    </a:custClr>
    <a:custClr name="Custom Color 5">
      <a:srgbClr val="61A4D4"/>
    </a:custClr>
    <a:custClr name="Custom Color 6">
      <a:srgbClr val="BBE0E3"/>
    </a:custClr>
    <a:custClr name="Custom Color 7">
      <a:srgbClr val="333399"/>
    </a:custClr>
  </a:custClrLst>
  <a:extLst>
    <a:ext uri="{05A4C25C-085E-4340-85A3-A5531E510DB2}">
      <thm15:themeFamily xmlns:thm15="http://schemas.microsoft.com/office/thememl/2012/main" name="DE_0286RP_16x9_OF_v2.potx" id="{C3E12997-68D7-4EF8-8900-099BC0F0F342}" vid="{F5CE1281-E733-4823-9052-C9A490AA093B}"/>
    </a:ext>
  </a:extLst>
</a:theme>
</file>

<file path=ppt/theme/theme3.xml><?xml version="1.0" encoding="utf-8"?>
<a:theme xmlns:a="http://schemas.openxmlformats.org/drawingml/2006/main" name="6_White_DE_0286RP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4B76"/>
      </a:accent1>
      <a:accent2>
        <a:srgbClr val="F7BB3D"/>
      </a:accent2>
      <a:accent3>
        <a:srgbClr val="66B692"/>
      </a:accent3>
      <a:accent4>
        <a:srgbClr val="D77360"/>
      </a:accent4>
      <a:accent5>
        <a:srgbClr val="DAEDEF"/>
      </a:accent5>
      <a:accent6>
        <a:srgbClr val="80CDEC"/>
      </a:accent6>
      <a:hlink>
        <a:srgbClr val="0000FF"/>
      </a:hlink>
      <a:folHlink>
        <a:srgbClr val="800080"/>
      </a:folHlink>
    </a:clrScheme>
    <a:fontScheme name="Custom">
      <a:majorFont>
        <a:latin typeface="BundesSans Bold"/>
        <a:ea typeface=""/>
        <a:cs typeface=""/>
      </a:majorFont>
      <a:minorFont>
        <a:latin typeface="BundesSans Regular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4B76"/>
        </a:accent1>
        <a:accent2>
          <a:srgbClr val="F7BB3D"/>
        </a:accent2>
        <a:accent3>
          <a:srgbClr val="66B692"/>
        </a:accent3>
        <a:accent4>
          <a:srgbClr val="D77360"/>
        </a:accent4>
        <a:accent5>
          <a:srgbClr val="DAEDEF"/>
        </a:accent5>
        <a:accent6>
          <a:srgbClr val="80CDE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 1">
      <a:srgbClr val="996633"/>
    </a:custClr>
    <a:custClr name="Custom Color 2">
      <a:srgbClr val="D24150"/>
    </a:custClr>
    <a:custClr name="Custom Color 3">
      <a:srgbClr val="004F80"/>
    </a:custClr>
    <a:custClr name="Custom Color 4">
      <a:srgbClr val="A8A8B9"/>
    </a:custClr>
    <a:custClr name="Custom Color 5">
      <a:srgbClr val="61A4D4"/>
    </a:custClr>
    <a:custClr name="Custom Color 6">
      <a:srgbClr val="BBE0E3"/>
    </a:custClr>
    <a:custClr name="Custom Color 7">
      <a:srgbClr val="333399"/>
    </a:custClr>
  </a:custClrLst>
  <a:extLst>
    <a:ext uri="{05A4C25C-085E-4340-85A3-A5531E510DB2}">
      <thm15:themeFamily xmlns:thm15="http://schemas.microsoft.com/office/thememl/2012/main" name="DE_0286RP_16x9_OF_v2.potx" id="{C3E12997-68D7-4EF8-8900-099BC0F0F342}" vid="{F5CE1281-E733-4823-9052-C9A490AA093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C8546A4AF1F724D91228A90C30352C2" ma:contentTypeVersion="3" ma:contentTypeDescription="Ein neues Dokument erstellen." ma:contentTypeScope="" ma:versionID="02ea261bf1a3ca7ede0e68f3be0e40f5">
  <xsd:schema xmlns:xsd="http://www.w3.org/2001/XMLSchema" xmlns:xs="http://www.w3.org/2001/XMLSchema" xmlns:p="http://schemas.microsoft.com/office/2006/metadata/properties" xmlns:ns2="09f97250-d555-4864-ab89-5348b200635b" targetNamespace="http://schemas.microsoft.com/office/2006/metadata/properties" ma:root="true" ma:fieldsID="cb3ffed867d1c2f3db50b66530aac66f" ns2:_="">
    <xsd:import namespace="09f97250-d555-4864-ab89-5348b200635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f97250-d555-4864-ab89-5348b200635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9f97250-d555-4864-ab89-5348b200635b">7H4U3DPS5V2F-1806042254-466</_dlc_DocId>
    <_dlc_DocIdUrl xmlns="09f97250-d555-4864-ab89-5348b200635b">
      <Url>https://portal.init.de/project/OZG_Grundlagen_Tools/_layouts/15/DocIdRedir.aspx?ID=7H4U3DPS5V2F-1806042254-466</Url>
      <Description>7H4U3DPS5V2F-1806042254-466</Description>
    </_dlc_DocIdUrl>
  </documentManagement>
</p:properties>
</file>

<file path=customXml/itemProps1.xml><?xml version="1.0" encoding="utf-8"?>
<ds:datastoreItem xmlns:ds="http://schemas.openxmlformats.org/officeDocument/2006/customXml" ds:itemID="{83AA75A5-463D-4318-A24E-77BFEBF88021}"/>
</file>

<file path=customXml/itemProps2.xml><?xml version="1.0" encoding="utf-8"?>
<ds:datastoreItem xmlns:ds="http://schemas.openxmlformats.org/officeDocument/2006/customXml" ds:itemID="{D18EFB2B-7F6C-48AD-9BBA-0FE2941104E1}"/>
</file>

<file path=customXml/itemProps3.xml><?xml version="1.0" encoding="utf-8"?>
<ds:datastoreItem xmlns:ds="http://schemas.openxmlformats.org/officeDocument/2006/customXml" ds:itemID="{AE3D8AB9-C1CC-43B6-B4C4-D669AF4C2CCB}"/>
</file>

<file path=customXml/itemProps4.xml><?xml version="1.0" encoding="utf-8"?>
<ds:datastoreItem xmlns:ds="http://schemas.openxmlformats.org/officeDocument/2006/customXml" ds:itemID="{757E2CA4-D20B-4E83-8255-20CD2D51CD3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5</Words>
  <Application>Microsoft Office PowerPoint</Application>
  <PresentationFormat>Benutzerdefiniert</PresentationFormat>
  <Paragraphs>78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5" baseType="lpstr">
      <vt:lpstr>Arial</vt:lpstr>
      <vt:lpstr>BundesSans Bold</vt:lpstr>
      <vt:lpstr>BundesSans Regular</vt:lpstr>
      <vt:lpstr>BundesSerif Office</vt:lpstr>
      <vt:lpstr>Calibri</vt:lpstr>
      <vt:lpstr>Courier New</vt:lpstr>
      <vt:lpstr>Segoe UI</vt:lpstr>
      <vt:lpstr>Wingdings</vt:lpstr>
      <vt:lpstr>13_DE_BE1154_16x9_CF3</vt:lpstr>
      <vt:lpstr>5_White_DE_0286RP_16x9_OF_v1</vt:lpstr>
      <vt:lpstr>6_White_DE_0286RP_16x9_OF_v1</vt:lpstr>
      <vt:lpstr>think-cell Foli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2-07T09:23:59Z</dcterms:created>
  <dcterms:modified xsi:type="dcterms:W3CDTF">2023-02-07T09:2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8546A4AF1F724D91228A90C30352C2</vt:lpwstr>
  </property>
  <property fmtid="{D5CDD505-2E9C-101B-9397-08002B2CF9AE}" pid="3" name="_dlc_DocIdItemGuid">
    <vt:lpwstr>d400dce7-d95e-46d8-b47f-e9e516cf7bda</vt:lpwstr>
  </property>
</Properties>
</file>